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292" r:id="rId2"/>
    <p:sldId id="307" r:id="rId3"/>
    <p:sldId id="295" r:id="rId4"/>
    <p:sldId id="313" r:id="rId5"/>
    <p:sldId id="314" r:id="rId6"/>
    <p:sldId id="315" r:id="rId7"/>
    <p:sldId id="316" r:id="rId8"/>
    <p:sldId id="317" r:id="rId9"/>
    <p:sldId id="318" r:id="rId10"/>
    <p:sldId id="319" r:id="rId11"/>
    <p:sldId id="320" r:id="rId12"/>
    <p:sldId id="321" r:id="rId13"/>
    <p:sldId id="322" r:id="rId14"/>
    <p:sldId id="323" r:id="rId15"/>
    <p:sldId id="324" r:id="rId16"/>
    <p:sldId id="325" r:id="rId17"/>
    <p:sldId id="326" r:id="rId18"/>
    <p:sldId id="327" r:id="rId19"/>
    <p:sldId id="328" r:id="rId20"/>
    <p:sldId id="329" r:id="rId21"/>
    <p:sldId id="331" r:id="rId22"/>
    <p:sldId id="332" r:id="rId23"/>
    <p:sldId id="333" r:id="rId24"/>
    <p:sldId id="334" r:id="rId25"/>
    <p:sldId id="335" r:id="rId26"/>
    <p:sldId id="336" r:id="rId27"/>
    <p:sldId id="343" r:id="rId28"/>
    <p:sldId id="344" r:id="rId29"/>
    <p:sldId id="345" r:id="rId30"/>
    <p:sldId id="337" r:id="rId31"/>
    <p:sldId id="338" r:id="rId32"/>
    <p:sldId id="339" r:id="rId33"/>
    <p:sldId id="341" r:id="rId34"/>
    <p:sldId id="312" r:id="rId35"/>
    <p:sldId id="310" r:id="rId36"/>
  </p:sldIdLst>
  <p:sldSz cx="9906000" cy="6858000" type="A4"/>
  <p:notesSz cx="6735763" cy="9866313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6pPr>
    <a:lvl7pPr marL="27432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7pPr>
    <a:lvl8pPr marL="32004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8pPr>
    <a:lvl9pPr marL="36576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20">
          <p15:clr>
            <a:srgbClr val="A4A3A4"/>
          </p15:clr>
        </p15:guide>
        <p15:guide id="3" orient="horz" pos="536">
          <p15:clr>
            <a:srgbClr val="A4A3A4"/>
          </p15:clr>
        </p15:guide>
        <p15:guide id="4" orient="horz" pos="3702">
          <p15:clr>
            <a:srgbClr val="A4A3A4"/>
          </p15:clr>
        </p15:guide>
        <p15:guide id="5" orient="horz" pos="871">
          <p15:clr>
            <a:srgbClr val="A4A3A4"/>
          </p15:clr>
        </p15:guide>
        <p15:guide id="6" orient="horz" pos="3595">
          <p15:clr>
            <a:srgbClr val="A4A3A4"/>
          </p15:clr>
        </p15:guide>
        <p15:guide id="7" pos="2805">
          <p15:clr>
            <a:srgbClr val="A4A3A4"/>
          </p15:clr>
        </p15:guide>
        <p15:guide id="8" pos="228">
          <p15:clr>
            <a:srgbClr val="A4A3A4"/>
          </p15:clr>
        </p15:guide>
        <p15:guide id="9" pos="6008">
          <p15:clr>
            <a:srgbClr val="A4A3A4"/>
          </p15:clr>
        </p15:guide>
        <p15:guide id="10" pos="1901">
          <p15:clr>
            <a:srgbClr val="A4A3A4"/>
          </p15:clr>
        </p15:guide>
        <p15:guide id="11" orient="horz" pos="2468">
          <p15:clr>
            <a:srgbClr val="A4A3A4"/>
          </p15:clr>
        </p15:guide>
        <p15:guide id="12" orient="horz" pos="628">
          <p15:clr>
            <a:srgbClr val="A4A3A4"/>
          </p15:clr>
        </p15:guide>
        <p15:guide id="13" orient="horz" pos="1470">
          <p15:clr>
            <a:srgbClr val="A4A3A4"/>
          </p15:clr>
        </p15:guide>
        <p15:guide id="14" orient="horz" pos="1711">
          <p15:clr>
            <a:srgbClr val="A4A3A4"/>
          </p15:clr>
        </p15:guide>
        <p15:guide id="15" pos="388">
          <p15:clr>
            <a:srgbClr val="A4A3A4"/>
          </p15:clr>
        </p15:guide>
        <p15:guide id="16" orient="horz" pos="2163">
          <p15:clr>
            <a:srgbClr val="A4A3A4"/>
          </p15:clr>
        </p15:guide>
        <p15:guide id="17" orient="horz" pos="931">
          <p15:clr>
            <a:srgbClr val="A4A3A4"/>
          </p15:clr>
        </p15:guide>
        <p15:guide id="18" pos="34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6EB"/>
    <a:srgbClr val="FFFFC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18" autoAdjust="0"/>
    <p:restoredTop sz="50000" autoAdjust="0"/>
  </p:normalViewPr>
  <p:slideViewPr>
    <p:cSldViewPr snapToGrid="0">
      <p:cViewPr varScale="1">
        <p:scale>
          <a:sx n="114" d="100"/>
          <a:sy n="114" d="100"/>
        </p:scale>
        <p:origin x="1860" y="108"/>
      </p:cViewPr>
      <p:guideLst>
        <p:guide orient="horz" pos="2160"/>
        <p:guide orient="horz" pos="420"/>
        <p:guide orient="horz" pos="536"/>
        <p:guide orient="horz" pos="3702"/>
        <p:guide orient="horz" pos="871"/>
        <p:guide orient="horz" pos="3595"/>
        <p:guide pos="2805"/>
        <p:guide pos="228"/>
        <p:guide pos="6008"/>
        <p:guide pos="1901"/>
        <p:guide orient="horz" pos="2468"/>
        <p:guide orient="horz" pos="628"/>
        <p:guide orient="horz" pos="1470"/>
        <p:guide orient="horz" pos="1711"/>
        <p:guide pos="388"/>
        <p:guide orient="horz" pos="2163"/>
        <p:guide orient="horz" pos="931"/>
        <p:guide pos="34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408" y="-7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9" tIns="45350" rIns="90699" bIns="4535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933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9" tIns="45350" rIns="90699" bIns="4535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2998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9" tIns="45350" rIns="90699" bIns="4535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933" y="9372998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99" tIns="45350" rIns="90699" bIns="4535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155645C9-B514-4B14-9315-C85CC8EF901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368616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 smtClean="0"/>
            </a:lvl1pPr>
          </a:lstStyle>
          <a:p>
            <a:pPr>
              <a:defRPr/>
            </a:pPr>
            <a:fld id="{0FDCAB79-EA50-4C3D-A417-8BC1E27F967E}" type="datetimeFigureOut">
              <a:rPr lang="ko-KR" altLang="en-US"/>
              <a:pPr>
                <a:defRPr/>
              </a:pPr>
              <a:t>2019-10-3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9" tIns="45350" rIns="90699" bIns="45350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699" tIns="45350" rIns="90699" bIns="45350" rtlCol="0"/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349628F7-D5D0-4E78-AD1A-2AEC66A290F0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29539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71475" y="1704975"/>
            <a:ext cx="9105900" cy="45259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lnSpc>
                <a:spcPct val="100000"/>
              </a:lnSpc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lnSpc>
                <a:spcPct val="100000"/>
              </a:lnSpc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805898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7147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Title Placeholder 22"/>
          <p:cNvSpPr>
            <a:spLocks noGrp="1"/>
          </p:cNvSpPr>
          <p:nvPr>
            <p:ph type="ctrTitle"/>
          </p:nvPr>
        </p:nvSpPr>
        <p:spPr>
          <a:xfrm>
            <a:off x="660402" y="1919291"/>
            <a:ext cx="7130256" cy="1279525"/>
          </a:xfrm>
          <a:prstGeom prst="rect">
            <a:avLst/>
          </a:prstGeom>
        </p:spPr>
        <p:txBody>
          <a:bodyPr wrap="square"/>
          <a:lstStyle>
            <a:lvl1pPr>
              <a:defRPr sz="3600">
                <a:solidFill>
                  <a:srgbClr val="0073A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subTitle" idx="1"/>
          </p:nvPr>
        </p:nvSpPr>
        <p:spPr bwMode="black">
          <a:xfrm>
            <a:off x="660402" y="3262313"/>
            <a:ext cx="7130256" cy="639762"/>
          </a:xfrm>
          <a:prstGeom prst="rect">
            <a:avLst/>
          </a:prstGeom>
        </p:spPr>
        <p:txBody>
          <a:bodyPr/>
          <a:lstStyle>
            <a:lvl1pPr marL="0" indent="0">
              <a:buFont typeface="Wingdings" pitchFamily="2" charset="2"/>
              <a:buNone/>
              <a:defRPr sz="1800">
                <a:solidFill>
                  <a:srgbClr val="00A4E4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9" name="Group 8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 flipH="1">
            <a:off x="8709025" y="0"/>
            <a:ext cx="1196975" cy="1119188"/>
            <a:chOff x="1440543" y="1418168"/>
            <a:chExt cx="769056" cy="769056"/>
          </a:xfrm>
        </p:grpSpPr>
        <p:sp>
          <p:nvSpPr>
            <p:cNvPr id="10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  <p:sp>
          <p:nvSpPr>
            <p:cNvPr id="11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</p:grpSp>
      <p:grpSp>
        <p:nvGrpSpPr>
          <p:cNvPr id="15" name="Group 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 flipH="1">
            <a:off x="8738052" y="0"/>
            <a:ext cx="1196975" cy="1119188"/>
            <a:chOff x="1440543" y="1418168"/>
            <a:chExt cx="769056" cy="769056"/>
          </a:xfrm>
          <a:solidFill>
            <a:schemeClr val="tx1"/>
          </a:solidFill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231474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 flipH="1">
            <a:off x="8709025" y="0"/>
            <a:ext cx="1196975" cy="1119188"/>
            <a:chOff x="1440543" y="1418168"/>
            <a:chExt cx="769056" cy="769056"/>
          </a:xfrm>
        </p:grpSpPr>
        <p:sp>
          <p:nvSpPr>
            <p:cNvPr id="10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  <p:sp>
          <p:nvSpPr>
            <p:cNvPr id="11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</p:grpSp>
      <p:grpSp>
        <p:nvGrpSpPr>
          <p:cNvPr id="15" name="Group 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 flipH="1">
            <a:off x="8738052" y="0"/>
            <a:ext cx="1196975" cy="1119188"/>
            <a:chOff x="1440543" y="1418168"/>
            <a:chExt cx="769056" cy="769056"/>
          </a:xfrm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rgbClr val="00A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rgbClr val="00A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</p:grpSp>
      <p:sp>
        <p:nvSpPr>
          <p:cNvPr id="13" name="Rectangle 16"/>
          <p:cNvSpPr/>
          <p:nvPr userDrawn="1"/>
        </p:nvSpPr>
        <p:spPr bwMode="auto">
          <a:xfrm>
            <a:off x="2324708" y="2780928"/>
            <a:ext cx="5436604" cy="989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latinLnBrk="0"/>
            <a:r>
              <a:rPr kumimoji="0" lang="en-US" altLang="ko-KR" sz="3200" b="1" i="1" dirty="0">
                <a:solidFill>
                  <a:srgbClr val="00B0F0"/>
                </a:solidFill>
                <a:latin typeface="Arial" pitchFamily="34" charset="0"/>
                <a:ea typeface="ＭＳ Ｐゴシック"/>
                <a:cs typeface="Arial"/>
              </a:rPr>
              <a:t>End of Document</a:t>
            </a:r>
            <a:endParaRPr kumimoji="0" lang="ko-KR" altLang="en-US" sz="3200" b="1" i="1" dirty="0" err="1">
              <a:solidFill>
                <a:srgbClr val="00B0F0"/>
              </a:solidFill>
              <a:latin typeface="Arial" pitchFamily="34" charset="0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125511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7"/>
          <p:cNvSpPr>
            <a:spLocks noChangeShapeType="1"/>
          </p:cNvSpPr>
          <p:nvPr userDrawn="1"/>
        </p:nvSpPr>
        <p:spPr bwMode="auto">
          <a:xfrm>
            <a:off x="354013" y="666750"/>
            <a:ext cx="9168474" cy="0"/>
          </a:xfrm>
          <a:prstGeom prst="line">
            <a:avLst/>
          </a:prstGeom>
          <a:noFill/>
          <a:ln w="15875" cmpd="dbl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028" name="Rectangle 12"/>
          <p:cNvSpPr>
            <a:spLocks noChangeArrowheads="1"/>
          </p:cNvSpPr>
          <p:nvPr userDrawn="1"/>
        </p:nvSpPr>
        <p:spPr bwMode="auto">
          <a:xfrm>
            <a:off x="354013" y="420529"/>
            <a:ext cx="22701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 eaLnBrk="1" hangingPunct="1"/>
            <a:r>
              <a:rPr lang="ko-KR" altLang="en-US" sz="1000" b="1" baseline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정보보호 관리체계 수립 컨설팅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4789180" y="6613258"/>
            <a:ext cx="306123" cy="127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fld id="{5DFF970D-EC9C-4F36-B0D8-9B6DCBA701C9}" type="slidenum">
              <a:rPr lang="en-US" altLang="ko-KR" sz="800" smtClean="0">
                <a:solidFill>
                  <a:schemeClr val="tx1"/>
                </a:solidFill>
              </a:rPr>
              <a:pPr algn="ctr" eaLnBrk="1" hangingPunct="1">
                <a:defRPr/>
              </a:pPr>
              <a:t>‹#›</a:t>
            </a:fld>
            <a:endParaRPr lang="en-US" altLang="ko-KR" sz="800" dirty="0">
              <a:solidFill>
                <a:schemeClr val="tx1"/>
              </a:solidFill>
            </a:endParaRP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auto">
          <a:xfrm>
            <a:off x="354013" y="6532563"/>
            <a:ext cx="91979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 txBox="1">
            <a:spLocks/>
          </p:cNvSpPr>
          <p:nvPr/>
        </p:nvSpPr>
        <p:spPr bwMode="black">
          <a:xfrm>
            <a:off x="908360" y="4606461"/>
            <a:ext cx="7130256" cy="759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0" fontAlgn="base" hangingPunct="0">
              <a:spcBef>
                <a:spcPts val="1200"/>
              </a:spcBef>
              <a:spcAft>
                <a:spcPct val="0"/>
              </a:spcAft>
              <a:buClr>
                <a:srgbClr val="00A4E4"/>
              </a:buClr>
              <a:buFont typeface="Wingdings" pitchFamily="2" charset="2"/>
              <a:buNone/>
              <a:tabLst>
                <a:tab pos="8005763" algn="r"/>
              </a:tabLst>
              <a:defRPr sz="1800">
                <a:solidFill>
                  <a:srgbClr val="00A4E4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361950" indent="-171450" algn="l" defTabSz="457200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–"/>
              <a:tabLst>
                <a:tab pos="8005763" algn="r"/>
              </a:tabLst>
              <a:defRPr sz="12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501650" indent="-139700" algn="l" defTabSz="457200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•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647700" indent="-152400" algn="l" defTabSz="457200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–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792163" indent="-144463" algn="l" defTabSz="457200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»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1249363" indent="-144463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»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706563" indent="-144463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»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63763" indent="-144463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»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620963" indent="-144463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rgbClr val="00A4E4"/>
              </a:buClr>
              <a:buFont typeface="Arial" pitchFamily="34" charset="0"/>
              <a:buChar char="»"/>
              <a:tabLst>
                <a:tab pos="8005763" algn="r"/>
              </a:tabLst>
              <a:defRPr sz="1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spcBef>
                <a:spcPts val="600"/>
              </a:spcBef>
            </a:pPr>
            <a:r>
              <a:rPr kumimoji="0" lang="en-US" altLang="ko-KR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Version 1.0</a:t>
            </a:r>
          </a:p>
          <a:p>
            <a:pPr latinLnBrk="0">
              <a:spcBef>
                <a:spcPts val="600"/>
              </a:spcBef>
            </a:pPr>
            <a:r>
              <a:rPr kumimoji="0" lang="en-US" altLang="ko-KR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15.Oct.2019</a:t>
            </a:r>
          </a:p>
        </p:txBody>
      </p:sp>
      <p:sp>
        <p:nvSpPr>
          <p:cNvPr id="12" name="Title 3"/>
          <p:cNvSpPr txBox="1">
            <a:spLocks/>
          </p:cNvSpPr>
          <p:nvPr/>
        </p:nvSpPr>
        <p:spPr bwMode="black">
          <a:xfrm>
            <a:off x="819147" y="1919291"/>
            <a:ext cx="8534403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0073AE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lvl="0" latinLnBrk="0"/>
            <a:r>
              <a:rPr kumimoji="0" lang="ko-KR" altLang="en-US" b="1" i="1" kern="0" dirty="0">
                <a:solidFill>
                  <a:schemeClr val="tx1"/>
                </a:solidFill>
                <a:latin typeface="+mn-ea"/>
                <a:ea typeface="+mn-ea"/>
                <a:cs typeface="Arial"/>
              </a:rPr>
              <a:t>개인정보보호 관리체계 수준평가 결과서 </a:t>
            </a:r>
            <a:endParaRPr kumimoji="0" lang="ko-KR" altLang="en-US" sz="3600" b="1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2432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적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취급자 관리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를 취급하는 임직원의 경우 개인정보 취급자로 지정하고 개인정보 취급자를 최소한으로 지정하여 그 목록을 최신으로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임직원 모두 개인정보를 취급하는 것으로 파악되었으며 직무 검토와 취급자 목록이 관리되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8" y="39149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660635"/>
              </p:ext>
            </p:extLst>
          </p:nvPr>
        </p:nvGraphicFramePr>
        <p:xfrm>
          <a:off x="731712" y="4216493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취급자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관리 미흡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를 취급하는 직원인가에 대한 검토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취급자를 목록화 한 관리대장 작성 및 최신화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6327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적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취급자 보안 점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취급자에 대한 개인정보보호 전 영역에 대한 보안 점검을 연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1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회 이상 수행하고 그 결과에 문서화하여 보고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 취급자의 보안 현황에 대한 점검이 이루어지고 </a:t>
            </a:r>
            <a:r>
              <a:rPr lang="ko-KR" altLang="en-US" sz="1000">
                <a:latin typeface="+mn-ea"/>
                <a:ea typeface="+mn-ea"/>
              </a:rPr>
              <a:t>있지 않으며 그 결과가 보고되고 </a:t>
            </a:r>
            <a:r>
              <a:rPr lang="ko-KR" altLang="en-US" sz="1000" dirty="0">
                <a:latin typeface="+mn-ea"/>
                <a:ea typeface="+mn-ea"/>
              </a:rPr>
              <a:t>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8" y="39149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434589"/>
              </p:ext>
            </p:extLst>
          </p:nvPr>
        </p:nvGraphicFramePr>
        <p:xfrm>
          <a:off x="731712" y="4216493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취급자 보안점검 미 실시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취급자 보안점검 절차 수립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86181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적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서약서 관리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를 처리하거나 접근권한이 부여된 임직원∙임시직원∙외부자 등 내부 정책 및 관련 법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비밀유지 의무 등 준수사항을 명확히 인지할 수 </a:t>
            </a:r>
            <a:b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</a:b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있도록 업무 특성에 따른 보안 서약을 받아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 </a:t>
            </a: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기존 에스엔텍에서는 인사부서에서 보안서약서을 입</a:t>
            </a:r>
            <a:r>
              <a:rPr lang="en-US" altLang="ko-KR" sz="1000" dirty="0">
                <a:latin typeface="+mn-ea"/>
                <a:ea typeface="+mn-ea"/>
              </a:rPr>
              <a:t>/</a:t>
            </a:r>
            <a:r>
              <a:rPr lang="ko-KR" altLang="en-US" sz="1000" dirty="0">
                <a:latin typeface="+mn-ea"/>
                <a:ea typeface="+mn-ea"/>
              </a:rPr>
              <a:t>퇴사 시 징구하고 있었으나 현재 인사부서의 부재로 보안서약서를 징구하는 절차가 없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현재 보관되어 있는 보안서약서를 확인할 수 없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050450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512791"/>
              </p:ext>
            </p:extLst>
          </p:nvPr>
        </p:nvGraphicFramePr>
        <p:xfrm>
          <a:off x="731712" y="4351965"/>
          <a:ext cx="8633533" cy="65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안서약서 작성 없음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보보호 외 개인정보보호에 관한 책임 및 내용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밀유지에 대한 내용이 담긴 보안서약서 작성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071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적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취급자 보안 점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취급자에 대한 개인정보보호 전 영역에 대한 보안 점검을 연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1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회 이상 수행하고 그 결과에 문서화하여 보고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 취급자의 보안 현황에 대한 점검이 이루어지고 </a:t>
            </a:r>
            <a:r>
              <a:rPr lang="ko-KR" altLang="en-US" sz="1000">
                <a:latin typeface="+mn-ea"/>
                <a:ea typeface="+mn-ea"/>
              </a:rPr>
              <a:t>있지 않으며 그 결과가 보고되고 </a:t>
            </a:r>
            <a:r>
              <a:rPr lang="ko-KR" altLang="en-US" sz="1000" dirty="0">
                <a:latin typeface="+mn-ea"/>
                <a:ea typeface="+mn-ea"/>
              </a:rPr>
              <a:t>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39149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952999"/>
              </p:ext>
            </p:extLst>
          </p:nvPr>
        </p:nvGraphicFramePr>
        <p:xfrm>
          <a:off x="731712" y="4216493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취급자 보안점검 미 실시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취급자 보안점검 절차 수립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0831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적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교육 수립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939422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를 취급하는 임직원 및 외부자를 대상으로 연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1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회 이상 교육을 시행하고 개인정보보호 정책 및 절차의 중대한 변경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조직 내 ∙ 외부 보안사고 발생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관련 법규 변경 등의 사유가 발생할 경우 추가 교육을 수행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또한 교육 시행에 대한 기록을 남기고 평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597242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68239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994787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보호 정책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내부관리계획 수립의 부재로 개인정보보호 교육에 대한 계획도 수립되어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교육 시행에 대한 기록과 교육 결과에 대한 평가가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8" y="4532646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278473"/>
              </p:ext>
            </p:extLst>
          </p:nvPr>
        </p:nvGraphicFramePr>
        <p:xfrm>
          <a:off x="731712" y="4834161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교육 계획 미 수립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금번 현황 점검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결과 등을 반영한 개인정보보호 교육 계획 수립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교육 결과 관리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교육 시행에 대한 기록과 결과에 대한 피드백 필요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21076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5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교육 시행 및 평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836876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파일 보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업무용 컴퓨터 및 모바일 기기에 개인정보 저장 시 문서도구 자체 암호화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암호 유틸리티를 이용한 암호화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DRM(Digital Right Management)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적용 등을 이용한 암호화를 수행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가 포함된 파일에 대한 암호화 저장이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39149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742988"/>
              </p:ext>
            </p:extLst>
          </p:nvPr>
        </p:nvGraphicFramePr>
        <p:xfrm>
          <a:off x="731712" y="4216493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파일 저장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시 암호화 미흡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암호 정책 마련 및 암호화 도구 사용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36375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신 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용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운영체제의 취약점으로 인한 침해사고를 예방하기 위하여 최신 패치를 적용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en-US" altLang="ko-KR" sz="1000" dirty="0">
                <a:latin typeface="+mn-ea"/>
                <a:ea typeface="+mn-ea"/>
              </a:rPr>
              <a:t>Windows 10</a:t>
            </a:r>
            <a:r>
              <a:rPr lang="ko-KR" altLang="en-US" sz="1000" dirty="0">
                <a:latin typeface="+mn-ea"/>
                <a:ea typeface="+mn-ea"/>
              </a:rPr>
              <a:t>버전</a:t>
            </a:r>
            <a:r>
              <a:rPr lang="en-US" altLang="ko-KR" sz="1000" dirty="0">
                <a:latin typeface="+mn-ea"/>
                <a:ea typeface="+mn-ea"/>
              </a:rPr>
              <a:t>(</a:t>
            </a:r>
            <a:r>
              <a:rPr lang="ko-KR" altLang="en-US" sz="1000" dirty="0">
                <a:latin typeface="+mn-ea"/>
                <a:ea typeface="+mn-ea"/>
              </a:rPr>
              <a:t>최신</a:t>
            </a:r>
            <a:r>
              <a:rPr lang="en-US" altLang="ko-KR" sz="1000" dirty="0">
                <a:latin typeface="+mn-ea"/>
                <a:ea typeface="+mn-ea"/>
              </a:rPr>
              <a:t>)</a:t>
            </a:r>
            <a:r>
              <a:rPr lang="ko-KR" altLang="en-US" sz="1000" dirty="0">
                <a:latin typeface="+mn-ea"/>
                <a:ea typeface="+mn-ea"/>
              </a:rPr>
              <a:t>의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와 </a:t>
            </a:r>
            <a:r>
              <a:rPr lang="en-US" altLang="ko-KR" sz="1000" dirty="0">
                <a:latin typeface="+mn-ea"/>
                <a:ea typeface="+mn-ea"/>
              </a:rPr>
              <a:t>Windows 7</a:t>
            </a:r>
            <a:r>
              <a:rPr lang="ko-KR" altLang="en-US" sz="1000" dirty="0">
                <a:latin typeface="+mn-ea"/>
                <a:ea typeface="+mn-ea"/>
              </a:rPr>
              <a:t>버전의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를 동시에 사용하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기존 사용중인 프로그램과의 호환성 문제로 </a:t>
            </a:r>
            <a:r>
              <a:rPr lang="en-US" altLang="ko-KR" sz="1000" dirty="0">
                <a:latin typeface="+mn-ea"/>
                <a:ea typeface="+mn-ea"/>
              </a:rPr>
              <a:t>Windows 7</a:t>
            </a:r>
            <a:r>
              <a:rPr lang="ko-KR" altLang="en-US" sz="1000" dirty="0">
                <a:latin typeface="+mn-ea"/>
                <a:ea typeface="+mn-ea"/>
              </a:rPr>
              <a:t>버전의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를 사용하며 현재 </a:t>
            </a:r>
            <a:r>
              <a:rPr lang="en-US" altLang="ko-KR" sz="1000" dirty="0">
                <a:latin typeface="+mn-ea"/>
                <a:ea typeface="+mn-ea"/>
              </a:rPr>
              <a:t>Windows 7</a:t>
            </a:r>
            <a:r>
              <a:rPr lang="ko-KR" altLang="en-US" sz="1000" dirty="0">
                <a:latin typeface="+mn-ea"/>
                <a:ea typeface="+mn-ea"/>
              </a:rPr>
              <a:t>에 대한 보안패치 서비스는 종료되어 취약점 패치가 이루어지지 않으므로 </a:t>
            </a:r>
            <a:r>
              <a:rPr lang="en-US" altLang="ko-KR" sz="1000" dirty="0">
                <a:latin typeface="+mn-ea"/>
                <a:ea typeface="+mn-ea"/>
              </a:rPr>
              <a:t>OS </a:t>
            </a:r>
            <a:r>
              <a:rPr lang="ko-KR" altLang="en-US" sz="1000" dirty="0">
                <a:latin typeface="+mn-ea"/>
                <a:ea typeface="+mn-ea"/>
              </a:rPr>
              <a:t>업그레이드가 필요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16281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067073"/>
              </p:ext>
            </p:extLst>
          </p:nvPr>
        </p:nvGraphicFramePr>
        <p:xfrm>
          <a:off x="731712" y="4464327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Windows 7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버전 사용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최신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OS(Windows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10)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에서 구동될 수 있도록 기존 프로그램의 호환성 적용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72594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안전한 비밀번호 설정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비밀번호 관리 절차를 수립 ∙ 이행하고 비밀번호 관리 책임이 사용자에게 있음을 주지시켜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특히 관리자 비밀번호는 별도 보호대책을 수립하여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업무용 </a:t>
            </a:r>
            <a:r>
              <a:rPr lang="en-US" altLang="ko-KR" sz="1000" dirty="0">
                <a:latin typeface="+mn-ea"/>
                <a:ea typeface="+mn-ea"/>
              </a:rPr>
              <a:t>PC, </a:t>
            </a:r>
            <a:r>
              <a:rPr lang="ko-KR" altLang="en-US" sz="1000" dirty="0">
                <a:latin typeface="+mn-ea"/>
                <a:ea typeface="+mn-ea"/>
              </a:rPr>
              <a:t>개인정보처리시스템에 비밀번호를 설정하고 있으나 안전한 비밀번호 설정기준에 미흡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비밀번호 규칙에 대한 내부 절차가 마련되어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07117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613260"/>
              </p:ext>
            </p:extLst>
          </p:nvPr>
        </p:nvGraphicFramePr>
        <p:xfrm>
          <a:off x="731712" y="4372689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안전한 비밀번호 설정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밀번호 관리 절차를 준수한 비밀번호 설정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밀번호 관리 절차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규칙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미 수립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보통신망법 등 관련 법령에서 요구하는 규칙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46792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화면보호기 설정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책상 위에 중요한 문서나 저장매체를 남겨놓지 않고 컴퓨터 화면에 중요정보가 노출되지 않도록 화면보호기 설정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비밀번호 노출 금지 등 보호대책을 수립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업무용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에 대한 잠금 설정은 되어 있으나 화면보호기에 대한 보안설정이 되어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398571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723501"/>
              </p:ext>
            </p:extLst>
          </p:nvPr>
        </p:nvGraphicFramePr>
        <p:xfrm>
          <a:off x="731712" y="4287229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화면보호기 보안 설정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화면보호기 대기 시간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암호 잠금 설정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적용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823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672029" y="2785606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인터넷을 통한 정보 유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악성코드 감염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내부망 침투 등을 예방하기 위하여 주요 정보시스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주요 직무 수행 및 개인정보 취급 단말기 등에 대한 인터넷 접속 또는 서비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P2P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웹하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메신저 등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를 제한하는 등 인터넷 접속 통제 정책을 수립 ∙ 이행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443426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5285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840971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en-US" altLang="ko-KR" sz="1000" dirty="0">
                <a:latin typeface="+mn-ea"/>
                <a:ea typeface="+mn-ea"/>
              </a:rPr>
              <a:t>P2P, </a:t>
            </a:r>
            <a:r>
              <a:rPr lang="ko-KR" altLang="en-US" sz="1000" dirty="0">
                <a:latin typeface="+mn-ea"/>
                <a:ea typeface="+mn-ea"/>
              </a:rPr>
              <a:t>웹하드 등 비인가 프로그램에 대한 통제가 수행되고 있지 않아 정보 유출의 통로로 활용될 위험이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업무용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에 대한 내</a:t>
            </a:r>
            <a:r>
              <a:rPr lang="en-US" altLang="ko-KR" sz="1000" dirty="0">
                <a:latin typeface="+mn-ea"/>
                <a:ea typeface="+mn-ea"/>
              </a:rPr>
              <a:t>/</a:t>
            </a:r>
            <a:r>
              <a:rPr lang="ko-KR" altLang="en-US" sz="1000" dirty="0">
                <a:latin typeface="+mn-ea"/>
                <a:ea typeface="+mn-ea"/>
              </a:rPr>
              <a:t>외부 망 분리가 되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25681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946497"/>
              </p:ext>
            </p:extLst>
          </p:nvPr>
        </p:nvGraphicFramePr>
        <p:xfrm>
          <a:off x="731712" y="4558333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인가 프로그램 접속 제한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P2P,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웹하드 등 보안상 위험한 웹 사이트에 대한 통제 정책 수립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업무용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PC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 외부 인터넷 허용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물리적 혹은 논리적 망분리 적용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5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비인가 프로그램 제한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7454" y="21076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3.7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망 분리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871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8"/>
          <p:cNvSpPr>
            <a:spLocks noChangeArrowheads="1"/>
          </p:cNvSpPr>
          <p:nvPr/>
        </p:nvSpPr>
        <p:spPr bwMode="auto">
          <a:xfrm>
            <a:off x="3605213" y="1913918"/>
            <a:ext cx="2886075" cy="4638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개 요</a:t>
            </a:r>
          </a:p>
        </p:txBody>
      </p:sp>
      <p:sp>
        <p:nvSpPr>
          <p:cNvPr id="3" name="Text Box 69"/>
          <p:cNvSpPr txBox="1">
            <a:spLocks noChangeArrowheads="1"/>
          </p:cNvSpPr>
          <p:nvPr/>
        </p:nvSpPr>
        <p:spPr bwMode="auto">
          <a:xfrm>
            <a:off x="3062288" y="1921319"/>
            <a:ext cx="539750" cy="4490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30000"/>
              </a:lnSpc>
              <a:buClr>
                <a:srgbClr val="FF9900"/>
              </a:buClr>
              <a:buFont typeface="Wingdings" panose="05000000000000000000" pitchFamily="2" charset="2"/>
              <a:buNone/>
            </a:pPr>
            <a:r>
              <a:rPr kumimoji="0" lang="en-US" altLang="ko-KR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</a:p>
        </p:txBody>
      </p:sp>
      <p:sp>
        <p:nvSpPr>
          <p:cNvPr id="5" name="Rectangle 58"/>
          <p:cNvSpPr>
            <a:spLocks noChangeArrowheads="1"/>
          </p:cNvSpPr>
          <p:nvPr/>
        </p:nvSpPr>
        <p:spPr bwMode="auto">
          <a:xfrm>
            <a:off x="3597784" y="2560030"/>
            <a:ext cx="2886075" cy="4638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점검 평가 기준</a:t>
            </a:r>
          </a:p>
        </p:txBody>
      </p:sp>
      <p:sp>
        <p:nvSpPr>
          <p:cNvPr id="6" name="Text Box 69"/>
          <p:cNvSpPr txBox="1">
            <a:spLocks noChangeArrowheads="1"/>
          </p:cNvSpPr>
          <p:nvPr/>
        </p:nvSpPr>
        <p:spPr bwMode="auto">
          <a:xfrm>
            <a:off x="3065463" y="2541892"/>
            <a:ext cx="539750" cy="4490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30000"/>
              </a:lnSpc>
              <a:buClr>
                <a:srgbClr val="FF9900"/>
              </a:buClr>
              <a:buFont typeface="Wingdings" panose="05000000000000000000" pitchFamily="2" charset="2"/>
              <a:buNone/>
            </a:pPr>
            <a:r>
              <a:rPr kumimoji="0" lang="en-US" altLang="ko-KR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</a:p>
        </p:txBody>
      </p:sp>
      <p:sp>
        <p:nvSpPr>
          <p:cNvPr id="8" name="Rectangle 58"/>
          <p:cNvSpPr>
            <a:spLocks noChangeArrowheads="1"/>
          </p:cNvSpPr>
          <p:nvPr/>
        </p:nvSpPr>
        <p:spPr bwMode="auto">
          <a:xfrm>
            <a:off x="3597784" y="3174207"/>
            <a:ext cx="3861358" cy="4638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현황 점검 요약</a:t>
            </a:r>
          </a:p>
        </p:txBody>
      </p:sp>
      <p:sp>
        <p:nvSpPr>
          <p:cNvPr id="9" name="Text Box 69"/>
          <p:cNvSpPr txBox="1">
            <a:spLocks noChangeArrowheads="1"/>
          </p:cNvSpPr>
          <p:nvPr/>
        </p:nvSpPr>
        <p:spPr bwMode="auto">
          <a:xfrm>
            <a:off x="3065463" y="3136016"/>
            <a:ext cx="539750" cy="50194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30000"/>
              </a:lnSpc>
              <a:buClr>
                <a:srgbClr val="FF9900"/>
              </a:buClr>
              <a:buFont typeface="Wingdings" panose="05000000000000000000" pitchFamily="2" charset="2"/>
              <a:buNone/>
            </a:pPr>
            <a:r>
              <a:rPr kumimoji="0" lang="en-US" altLang="ko-KR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auto">
          <a:xfrm>
            <a:off x="3605213" y="3780644"/>
            <a:ext cx="2886075" cy="4638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진단결과</a:t>
            </a:r>
          </a:p>
        </p:txBody>
      </p:sp>
      <p:sp>
        <p:nvSpPr>
          <p:cNvPr id="12" name="Text Box 69"/>
          <p:cNvSpPr txBox="1">
            <a:spLocks noChangeArrowheads="1"/>
          </p:cNvSpPr>
          <p:nvPr/>
        </p:nvSpPr>
        <p:spPr bwMode="auto">
          <a:xfrm>
            <a:off x="3065463" y="3756589"/>
            <a:ext cx="539750" cy="50194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30000"/>
              </a:lnSpc>
              <a:buClr>
                <a:srgbClr val="FF9900"/>
              </a:buClr>
              <a:buFont typeface="Wingdings" panose="05000000000000000000" pitchFamily="2" charset="2"/>
              <a:buNone/>
            </a:pPr>
            <a:r>
              <a:rPr kumimoji="0" lang="en-US" altLang="ko-KR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</a:p>
        </p:txBody>
      </p:sp>
      <p:sp>
        <p:nvSpPr>
          <p:cNvPr id="14" name="Rectangle 58"/>
          <p:cNvSpPr>
            <a:spLocks noChangeArrowheads="1"/>
          </p:cNvSpPr>
          <p:nvPr/>
        </p:nvSpPr>
        <p:spPr bwMode="auto">
          <a:xfrm>
            <a:off x="3605213" y="4410199"/>
            <a:ext cx="2886075" cy="46384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ko-KR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b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별 첨</a:t>
            </a:r>
          </a:p>
        </p:txBody>
      </p:sp>
      <p:sp>
        <p:nvSpPr>
          <p:cNvPr id="15" name="Text Box 69"/>
          <p:cNvSpPr txBox="1">
            <a:spLocks noChangeArrowheads="1"/>
          </p:cNvSpPr>
          <p:nvPr/>
        </p:nvSpPr>
        <p:spPr bwMode="auto">
          <a:xfrm>
            <a:off x="3065463" y="4377162"/>
            <a:ext cx="539750" cy="50194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latinLnBrk="0" hangingPunct="1">
              <a:lnSpc>
                <a:spcPct val="130000"/>
              </a:lnSpc>
              <a:buClr>
                <a:srgbClr val="FF9900"/>
              </a:buClr>
              <a:buFont typeface="Wingdings" panose="05000000000000000000" pitchFamily="2" charset="2"/>
              <a:buNone/>
            </a:pPr>
            <a:r>
              <a:rPr kumimoji="0" lang="en-US" altLang="ko-KR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</a:p>
        </p:txBody>
      </p:sp>
      <p:sp>
        <p:nvSpPr>
          <p:cNvPr id="17" name="텍스트 개체 틀 38"/>
          <p:cNvSpPr txBox="1">
            <a:spLocks/>
          </p:cNvSpPr>
          <p:nvPr/>
        </p:nvSpPr>
        <p:spPr>
          <a:xfrm>
            <a:off x="3692972" y="1027262"/>
            <a:ext cx="2143148" cy="571500"/>
          </a:xfrm>
          <a:prstGeom prst="rect">
            <a:avLst/>
          </a:prstGeom>
        </p:spPr>
        <p:txBody>
          <a:bodyPr anchor="ctr"/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charset="0"/>
              <a:buNone/>
              <a:defRPr/>
            </a:pPr>
            <a:r>
              <a:rPr lang="en-US" altLang="ko-KR" sz="30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ntents</a:t>
            </a:r>
            <a:endParaRPr lang="ko-KR" altLang="en-US" sz="3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34450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보안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.6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조저장매체 관리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보조저장매체를 통하여 개인정보 또는 중요정보의 유출이 발생하거나 악성코드가 감염되지 않도록 관리 절차를 수립 ∙ 이행하고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또는 중요정보가 포함된 보조저장매체는 안전한 장소에 보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보조저장매체에 대한 관리 절차가 존재하지 않고 업무용 </a:t>
            </a:r>
            <a:r>
              <a:rPr lang="en-US" altLang="ko-KR" sz="1000" dirty="0">
                <a:latin typeface="+mn-ea"/>
                <a:ea typeface="+mn-ea"/>
              </a:rPr>
              <a:t>PC</a:t>
            </a:r>
            <a:r>
              <a:rPr lang="ko-KR" altLang="en-US" sz="1000" dirty="0">
                <a:latin typeface="+mn-ea"/>
                <a:ea typeface="+mn-ea"/>
              </a:rPr>
              <a:t>에서 읽기</a:t>
            </a:r>
            <a:r>
              <a:rPr lang="en-US" altLang="ko-KR" sz="1000" dirty="0">
                <a:latin typeface="+mn-ea"/>
                <a:ea typeface="+mn-ea"/>
              </a:rPr>
              <a:t>/</a:t>
            </a:r>
            <a:r>
              <a:rPr lang="ko-KR" altLang="en-US" sz="1000" dirty="0">
                <a:latin typeface="+mn-ea"/>
                <a:ea typeface="+mn-ea"/>
              </a:rPr>
              <a:t>쓰기 권한 모두 사용 가능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하드카피 문서의 경우 잠금장치가 있는 캐비닛에 보관하고 있으며 별도로 관리하고 있는 보조저장매체는 없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036990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6497717"/>
              </p:ext>
            </p:extLst>
          </p:nvPr>
        </p:nvGraphicFramePr>
        <p:xfrm>
          <a:off x="731712" y="4338505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조저장매체 통제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조저장매체 사용에 관한 내부 지침 수립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53257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672029" y="2785606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는 서비스 제공을 위하여 필요한 최소한의 정보를 적법하고 정당하게 수집하여야 하며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필수정보 이외의 개인정보를 수집하는 경우에는</a:t>
            </a:r>
            <a:b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</a:b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 선택항목으로 구분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443426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52857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840971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대리운전 </a:t>
            </a:r>
            <a:r>
              <a:rPr lang="en-US" altLang="ko-KR" sz="1000" dirty="0">
                <a:latin typeface="+mn-ea"/>
                <a:ea typeface="+mn-ea"/>
              </a:rPr>
              <a:t>Order </a:t>
            </a:r>
            <a:r>
              <a:rPr lang="ko-KR" altLang="en-US" sz="1000" dirty="0">
                <a:latin typeface="+mn-ea"/>
                <a:ea typeface="+mn-ea"/>
              </a:rPr>
              <a:t>접수 고객 개인정보를 수집 시  서비스에 반드시 필요한 정보</a:t>
            </a:r>
            <a:r>
              <a:rPr lang="en-US" altLang="ko-KR" sz="1000" dirty="0">
                <a:latin typeface="+mn-ea"/>
                <a:ea typeface="+mn-ea"/>
              </a:rPr>
              <a:t>(</a:t>
            </a:r>
            <a:r>
              <a:rPr lang="ko-KR" altLang="en-US" sz="1000" dirty="0">
                <a:latin typeface="+mn-ea"/>
                <a:ea typeface="+mn-ea"/>
              </a:rPr>
              <a:t>연락처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출발지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도착지</a:t>
            </a:r>
            <a:r>
              <a:rPr lang="en-US" altLang="ko-KR" sz="1000" dirty="0">
                <a:latin typeface="+mn-ea"/>
                <a:ea typeface="+mn-ea"/>
              </a:rPr>
              <a:t>) </a:t>
            </a:r>
            <a:r>
              <a:rPr lang="ko-KR" altLang="en-US" sz="1000" dirty="0">
                <a:latin typeface="+mn-ea"/>
                <a:ea typeface="+mn-ea"/>
              </a:rPr>
              <a:t>외 고객 관리를 위한 부가적인 정보를 수집하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316640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524070"/>
              </p:ext>
            </p:extLst>
          </p:nvPr>
        </p:nvGraphicFramePr>
        <p:xfrm>
          <a:off x="731712" y="4618155"/>
          <a:ext cx="8633533" cy="65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수집 시 필수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선택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정보를 구분하고 있지 않음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비스 제공에 반드시 필요한 정보와 고객 관리에 필요한 정보를 구분하고 고객이 선택하여 제공할 수 있도록 절차 개선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집 제한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7454" y="21076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택적 정보 수집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66401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용자의 동의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819790"/>
            <a:ext cx="8752901" cy="83781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는 정보주체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이용자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의 동의를 받거나 관계 법령에 따라 적법하게 수집하여야 하며 수집∙이용 목적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수집하는 항목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이용기간 등 관련 내용을 고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  <a:p>
            <a:pPr lvl="0" indent="127000" algn="just">
              <a:spcAft>
                <a:spcPts val="0"/>
              </a:spcAft>
            </a:pP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수집 시 이용자의 동의를 받고 이용자에게 일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항목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동의자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방법 등 동의를 받은 기록을 보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47761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78495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4097351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대리운전 </a:t>
            </a:r>
            <a:r>
              <a:rPr lang="en-US" altLang="ko-KR" sz="1000" dirty="0">
                <a:latin typeface="+mn-ea"/>
                <a:ea typeface="+mn-ea"/>
              </a:rPr>
              <a:t>Order </a:t>
            </a:r>
            <a:r>
              <a:rPr lang="ko-KR" altLang="en-US" sz="1000" dirty="0">
                <a:latin typeface="+mn-ea"/>
                <a:ea typeface="+mn-ea"/>
              </a:rPr>
              <a:t>접수와 관련하여 개인정보 수집할 때 이용자에게 동의 받는 방법에 대한 검토가 필요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온라인 대리기사 등록 시 앱에서 동의를 받고 있으나 해당 기록을 저장하지 않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618118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558108"/>
              </p:ext>
            </p:extLst>
          </p:nvPr>
        </p:nvGraphicFramePr>
        <p:xfrm>
          <a:off x="731712" y="4919633"/>
          <a:ext cx="8633533" cy="105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수집과 관련된 내용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고지 미흡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수집 관련 내용에 대해 고지하고 동의를 받은 기록을 남기고 보존할 방안에 대한 내부 절차 마련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용자 동의 기록 보관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를 수집하는 모든 수단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선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APP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에서의 동의 받은 기록을 저장할 방안 마련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21033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의 기록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022960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5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의 출력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47761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51999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832392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처리시스템인 </a:t>
            </a:r>
            <a:r>
              <a:rPr lang="en-US" altLang="ko-KR" sz="1000" dirty="0">
                <a:latin typeface="+mn-ea"/>
                <a:ea typeface="+mn-ea"/>
              </a:rPr>
              <a:t>CALLMANER XE</a:t>
            </a:r>
            <a:r>
              <a:rPr lang="ko-KR" altLang="en-US" sz="1000" dirty="0">
                <a:latin typeface="+mn-ea"/>
                <a:ea typeface="+mn-ea"/>
              </a:rPr>
              <a:t>의 고객관리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기사관리 등 관련 메뉴에서 모든 개인정보가 표기되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가 출력되는 화면에서 개인정보의 마스킹 처리가 되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35315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767057"/>
              </p:ext>
            </p:extLst>
          </p:nvPr>
        </p:nvGraphicFramePr>
        <p:xfrm>
          <a:off x="731712" y="4654674"/>
          <a:ext cx="8633533" cy="899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출력 제한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처리시스템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메뉴의 용도별 반드시 필요한 정보에 대해서만 표시되도록 시스템 개발 검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표시제한 조치 미흡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표시제한 조치의 일관성 확보를 위한 기준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21033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6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표시제한 조치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72029" y="2785606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의 조회 및 출력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인쇄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화면표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파일생성 등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시 용도를 특정하고 용도에 따라 출력 항목 최소화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표시제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출력물 보호조치 등을 수행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610051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7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의 파기 정책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887818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930207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4242600"/>
            <a:ext cx="87529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내부 정책 미 수립으로 인해 개인정보 보유기간이 명확하지 않아 자체적으로 파기가 이루어지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위탁 업무를 통해 저장하는 개인정보는 최근 </a:t>
            </a:r>
            <a:r>
              <a:rPr lang="en-US" altLang="ko-KR" sz="1000" dirty="0">
                <a:latin typeface="+mn-ea"/>
                <a:ea typeface="+mn-ea"/>
              </a:rPr>
              <a:t>6</a:t>
            </a:r>
            <a:r>
              <a:rPr lang="ko-KR" altLang="en-US" sz="1000" dirty="0">
                <a:latin typeface="+mn-ea"/>
                <a:ea typeface="+mn-ea"/>
              </a:rPr>
              <a:t>개월간의 데이터는 열람 가능한 상태로 보관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그 이전의 정보는 별도 백업 서버에 보관하고 있으나 해당 업체의 요청이 없으며 파기가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79755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392567"/>
              </p:ext>
            </p:extLst>
          </p:nvPr>
        </p:nvGraphicFramePr>
        <p:xfrm>
          <a:off x="731712" y="5099066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파기 정책 미 수립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파기 계획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대상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점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법 등의 기준을 세운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내부 정책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파기 시행에 대한 결과 기록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및 관리 수행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67454" y="21033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8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파기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72029" y="3195814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의 보유기간 및 파기 관련 내부 정책을 수립하고 개인정보의 보유기간 경과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처리목적 달성 등 파기 시점이 도달한 때에는 파기의 안전성 및 완전성이 보장될 수 있는 방법으로 지체없이 파기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7454" y="2435723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9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안전한 파기 방법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124308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0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처리목적 달성 후 보유 시 조치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887818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930207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4242600"/>
            <a:ext cx="87529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의 파기가 이루어지고 있지 않으므로 현재 모든 개인정보를 보관하고 있습니다</a:t>
            </a:r>
            <a:r>
              <a:rPr lang="en-US" altLang="ko-KR" sz="1000" dirty="0">
                <a:latin typeface="+mn-ea"/>
                <a:ea typeface="+mn-ea"/>
              </a:rPr>
              <a:t>. (</a:t>
            </a:r>
            <a:r>
              <a:rPr lang="ko-KR" altLang="en-US" sz="1000" dirty="0">
                <a:latin typeface="+mn-ea"/>
                <a:ea typeface="+mn-ea"/>
              </a:rPr>
              <a:t>백업 서버</a:t>
            </a:r>
            <a:r>
              <a:rPr lang="en-US" altLang="ko-KR" sz="1000" dirty="0">
                <a:latin typeface="+mn-ea"/>
                <a:ea typeface="+mn-ea"/>
              </a:rPr>
              <a:t> </a:t>
            </a:r>
            <a:r>
              <a:rPr lang="ko-KR" altLang="en-US" sz="1000" dirty="0">
                <a:latin typeface="+mn-ea"/>
                <a:ea typeface="+mn-ea"/>
              </a:rPr>
              <a:t>내</a:t>
            </a:r>
            <a:r>
              <a:rPr lang="en-US" altLang="ko-KR" sz="1000" dirty="0">
                <a:latin typeface="+mn-ea"/>
                <a:ea typeface="+mn-ea"/>
              </a:rPr>
              <a:t>)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최근 </a:t>
            </a:r>
            <a:r>
              <a:rPr lang="en-US" altLang="ko-KR" sz="1000" dirty="0">
                <a:latin typeface="+mn-ea"/>
                <a:ea typeface="+mn-ea"/>
              </a:rPr>
              <a:t>6</a:t>
            </a:r>
            <a:r>
              <a:rPr lang="ko-KR" altLang="en-US" sz="1000" dirty="0">
                <a:latin typeface="+mn-ea"/>
                <a:ea typeface="+mn-ea"/>
              </a:rPr>
              <a:t>개월 이전의 데이터는 백업 서버에 보관하여 일부 분리가 되고 있으나 열람 기간에 따른 분리만 이루어질 뿐 목적달성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보유기간 경과에 대한 분리가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79755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7454" y="2103324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의 분리 보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72029" y="3195814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의 보유기간 경과 또는 처리목적 달성 후에도 관련 법령 등에 따라 파기하지 아니하고 보존하는 경우에는 해당 목적에 필요한 최소한의 항목으로 제한하고 다른 개인정보와 분리하여 저장 ∙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7454" y="2435723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분리 보관된 개인정보의 접근통제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132997"/>
              </p:ext>
            </p:extLst>
          </p:nvPr>
        </p:nvGraphicFramePr>
        <p:xfrm>
          <a:off x="731712" y="5109944"/>
          <a:ext cx="8633533" cy="129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 rowSpan="3"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목적 달성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유기간 경과한 개인정보에 대한 분리 보관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의 처리목적 달성 혹은 보유기간 경과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시 파기하지 않고 보존하는 개인정보의 보유 근거 마련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리 보관할 개인정보 대상의 기준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안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별도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테이블 등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을 포함한 내부 정책의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796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분리 보관된 개인정보에 대한 접근 권한에 대한 검토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12582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제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 제공 동의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469064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673827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986220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보험심사 및 가입에 대한 업무는 </a:t>
            </a:r>
            <a:r>
              <a:rPr lang="en-US" altLang="ko-KR" sz="1000" dirty="0">
                <a:latin typeface="+mn-ea"/>
                <a:ea typeface="+mn-ea"/>
              </a:rPr>
              <a:t>“</a:t>
            </a:r>
            <a:r>
              <a:rPr lang="ko-KR" altLang="en-US" sz="1000" dirty="0">
                <a:latin typeface="+mn-ea"/>
                <a:ea typeface="+mn-ea"/>
              </a:rPr>
              <a:t>제</a:t>
            </a:r>
            <a:r>
              <a:rPr lang="en-US" altLang="ko-KR" sz="1000" dirty="0">
                <a:latin typeface="+mn-ea"/>
                <a:ea typeface="+mn-ea"/>
              </a:rPr>
              <a:t>3</a:t>
            </a:r>
            <a:r>
              <a:rPr lang="ko-KR" altLang="en-US" sz="1000" dirty="0">
                <a:latin typeface="+mn-ea"/>
                <a:ea typeface="+mn-ea"/>
              </a:rPr>
              <a:t>자 제공</a:t>
            </a:r>
            <a:r>
              <a:rPr lang="en-US" altLang="ko-KR" sz="1000" dirty="0">
                <a:latin typeface="+mn-ea"/>
                <a:ea typeface="+mn-ea"/>
              </a:rPr>
              <a:t>”</a:t>
            </a:r>
            <a:r>
              <a:rPr lang="ko-KR" altLang="en-US" sz="1000" dirty="0">
                <a:latin typeface="+mn-ea"/>
                <a:ea typeface="+mn-ea"/>
              </a:rPr>
              <a:t>에 해당하나 이를 </a:t>
            </a:r>
            <a:r>
              <a:rPr lang="en-US" altLang="ko-KR" sz="1000" dirty="0">
                <a:latin typeface="+mn-ea"/>
                <a:ea typeface="+mn-ea"/>
              </a:rPr>
              <a:t>“</a:t>
            </a:r>
            <a:r>
              <a:rPr lang="ko-KR" altLang="en-US" sz="1000" dirty="0">
                <a:latin typeface="+mn-ea"/>
                <a:ea typeface="+mn-ea"/>
              </a:rPr>
              <a:t>위탁</a:t>
            </a:r>
            <a:r>
              <a:rPr lang="en-US" altLang="ko-KR" sz="1000" dirty="0">
                <a:latin typeface="+mn-ea"/>
                <a:ea typeface="+mn-ea"/>
              </a:rPr>
              <a:t>”</a:t>
            </a:r>
            <a:r>
              <a:rPr lang="ko-KR" altLang="en-US" sz="1000" dirty="0">
                <a:latin typeface="+mn-ea"/>
                <a:ea typeface="+mn-ea"/>
              </a:rPr>
              <a:t>으로 정보주체의 동의를 얻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해당 업무에 필요한 최소 정보만을 </a:t>
            </a:r>
            <a:r>
              <a:rPr lang="en-US" altLang="ko-KR" sz="1000" dirty="0">
                <a:latin typeface="+mn-ea"/>
                <a:ea typeface="+mn-ea"/>
              </a:rPr>
              <a:t>VPN</a:t>
            </a:r>
            <a:r>
              <a:rPr lang="ko-KR" altLang="en-US" sz="1000" dirty="0">
                <a:latin typeface="+mn-ea"/>
                <a:ea typeface="+mn-ea"/>
              </a:rPr>
              <a:t>을 통해 메리츠해상보험 측에 제공하고 있으나 해당 내역에 대한 기록 관리가 미흡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54117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7454" y="2103324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안전한 정보 제공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72029" y="2777060"/>
            <a:ext cx="8752901" cy="74777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를 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3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자에게 제공하는 경우 법적 근거에 의하거나 정보주체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이용자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의 동의를 받아야 하며 이 경우 수집 ∙ 이용에 대한 동의와 구분하고 이에 동의하지 않는다는 이유로 서비스의 제공을 거부하지 않도록 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  <a:p>
            <a:pPr lvl="0" indent="127000" algn="just">
              <a:spcAft>
                <a:spcPts val="0"/>
              </a:spcAft>
            </a:pP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를 제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3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자에게 제공하는 경우 최소한의 개인정보 항목으로 제한하고 안전한 절차와 방법을 통해 제공하고 내역을 기록하여 보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177017"/>
              </p:ext>
            </p:extLst>
          </p:nvPr>
        </p:nvGraphicFramePr>
        <p:xfrm>
          <a:off x="731712" y="4882565"/>
          <a:ext cx="8633533" cy="105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 제공 동의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비스 이용 동의 시 보험심사 및 가입에 대한 내용을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“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위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”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 아닌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“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 제공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”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으로 변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제공 내역 기록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보관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제공 시 제공받는 자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시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항목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목적 또는 근거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공담당자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방법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타 필요한 정보에 대해 기록 및 보관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10951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의 이용내역 등 정보주체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이용자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에게 통지하여야 할 사항을 파악하여 그 내용을 주기적으로 통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대리운전 기사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대리운전 이용 고객의 개인정보 이용내역</a:t>
            </a:r>
            <a:r>
              <a:rPr lang="en-US" altLang="ko-KR" sz="1000" dirty="0">
                <a:latin typeface="+mn-ea"/>
                <a:ea typeface="+mn-ea"/>
              </a:rPr>
              <a:t>(</a:t>
            </a:r>
            <a:r>
              <a:rPr lang="ko-KR" altLang="en-US" sz="1000" dirty="0">
                <a:latin typeface="+mn-ea"/>
                <a:ea typeface="+mn-ea"/>
              </a:rPr>
              <a:t>수집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이용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제공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위탁 등</a:t>
            </a:r>
            <a:r>
              <a:rPr lang="en-US" altLang="ko-KR" sz="1000" dirty="0">
                <a:latin typeface="+mn-ea"/>
                <a:ea typeface="+mn-ea"/>
              </a:rPr>
              <a:t>)</a:t>
            </a:r>
            <a:r>
              <a:rPr lang="ko-KR" altLang="en-US" sz="1000" dirty="0">
                <a:latin typeface="+mn-ea"/>
                <a:ea typeface="+mn-ea"/>
              </a:rPr>
              <a:t>에 대한 통지가 매년 수행되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r>
              <a:rPr lang="ko-KR" altLang="en-US" sz="1000" dirty="0">
                <a:latin typeface="+mn-ea"/>
                <a:ea typeface="+mn-ea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04714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135254"/>
              </p:ext>
            </p:extLst>
          </p:nvPr>
        </p:nvGraphicFramePr>
        <p:xfrm>
          <a:off x="731712" y="4348659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이용내역 통지 미 수행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 이용내역 통지 주기적 수행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연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5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이용내역 통지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18695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영리목적의 </a:t>
            </a:r>
            <a:r>
              <a:rPr lang="ko-KR" altLang="en-US" sz="1000" kern="100" dirty="0" err="1">
                <a:solidFill>
                  <a:srgbClr val="000000"/>
                </a:solidFill>
                <a:latin typeface="+mn-ea"/>
                <a:cs typeface="바탕"/>
              </a:rPr>
              <a:t>광고성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 정보를 전송하는 경우 수신자에게 동의 받은 날로부터 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 2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년마다 정기적으로 정보 수신여부를 확인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 </a:t>
            </a: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이벤트 및 각종정보 알림 수신에 대한 동의를 받고 있으나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해당 정보 수신자에 대한 수신여부 확인 활동이 수행되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r>
              <a:rPr lang="ko-KR" altLang="en-US" sz="1000" dirty="0">
                <a:latin typeface="+mn-ea"/>
                <a:ea typeface="+mn-ea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04714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599680"/>
              </p:ext>
            </p:extLst>
          </p:nvPr>
        </p:nvGraphicFramePr>
        <p:xfrm>
          <a:off x="731712" y="4348659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영리목적의 </a:t>
                      </a:r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광고성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정보 전송 수신여부 확인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마케팅 동의자 및 동의 일시 확인 후 마케팅 정보 수신여부 확인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6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마케팅 수신여부 확인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13591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이용자의 이동통신단말장치 내에 저장되어 있는 정보 및 기능에 대하여 접근할 수 있는 권한이 필요한 경우 이용자의 동의를 받아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대리기사용 </a:t>
            </a:r>
            <a:r>
              <a:rPr lang="ko-KR" altLang="en-US" sz="1000" dirty="0" err="1">
                <a:latin typeface="+mn-ea"/>
                <a:ea typeface="+mn-ea"/>
              </a:rPr>
              <a:t>앱</a:t>
            </a:r>
            <a:r>
              <a:rPr lang="ko-KR" altLang="en-US" sz="1000" dirty="0">
                <a:latin typeface="+mn-ea"/>
                <a:ea typeface="+mn-ea"/>
              </a:rPr>
              <a:t> 설치 시 단말기 접근권한에 대한 안내 및 동의 절차가 존재하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0074" y="404714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693742"/>
              </p:ext>
            </p:extLst>
          </p:nvPr>
        </p:nvGraphicFramePr>
        <p:xfrm>
          <a:off x="731712" y="4348659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단말기 접근권한 획득 동의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앱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설치 시 단말기 접근권한에 대한 필요 이유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항목 등을 포함한 동의 획득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Life-Cycle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 영역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7454" y="1801706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.17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근권한에 대한 동의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03927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solidFill>
                  <a:srgbClr val="2635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개 요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128587" y="1795355"/>
            <a:ext cx="4752975" cy="15976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8463" y="1356449"/>
            <a:ext cx="47506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추진 배경</a:t>
            </a:r>
          </a:p>
        </p:txBody>
      </p:sp>
      <p:cxnSp>
        <p:nvCxnSpPr>
          <p:cNvPr id="22" name="직선 연결선 21"/>
          <p:cNvCxnSpPr/>
          <p:nvPr/>
        </p:nvCxnSpPr>
        <p:spPr>
          <a:xfrm>
            <a:off x="128588" y="1695003"/>
            <a:ext cx="4752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/>
          <p:cNvSpPr/>
          <p:nvPr/>
        </p:nvSpPr>
        <p:spPr>
          <a:xfrm>
            <a:off x="127619" y="1867362"/>
            <a:ext cx="4703594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latinLnBrk="0">
              <a:lnSpc>
                <a:spcPct val="13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개인정보보호 활동 및 보안정책 준수 여부 점검</a:t>
            </a:r>
            <a:endParaRPr kumimoji="0" lang="en-US" altLang="ko-KR" sz="14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atinLnBrk="0">
              <a:lnSpc>
                <a:spcPct val="130000"/>
              </a:lnSpc>
              <a:defRPr/>
            </a:pP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 - 『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개인정보보호법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』, 『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정보통신망 이용촉진 및 정보보호 등에 </a:t>
            </a:r>
            <a:br>
              <a:rPr lang="en-US" altLang="ko-KR" sz="1200" dirty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    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관한 법률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』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을 기반으로 ㈜</a:t>
            </a:r>
            <a:r>
              <a:rPr lang="en-US" altLang="ko-KR" sz="1200" dirty="0">
                <a:latin typeface="맑은 고딕" pitchFamily="50" charset="-127"/>
                <a:ea typeface="맑은 고딕" pitchFamily="50" charset="-127"/>
              </a:rPr>
              <a:t>CMNP</a:t>
            </a:r>
            <a:r>
              <a:rPr lang="ko-KR" altLang="en-US" sz="1200" dirty="0">
                <a:latin typeface="맑은 고딕" pitchFamily="50" charset="-127"/>
                <a:ea typeface="맑은 고딕" pitchFamily="50" charset="-127"/>
              </a:rPr>
              <a:t>의 관리체계 수준 확인</a:t>
            </a:r>
            <a:br>
              <a:rPr lang="en-US" altLang="ko-KR" sz="400" dirty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개인정보보호 활동이 내부 지침</a:t>
            </a:r>
            <a:r>
              <a:rPr lang="en-US" altLang="ko-KR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법적 </a:t>
            </a:r>
            <a:r>
              <a:rPr lang="ko-KR" altLang="en-US" sz="1300" b="1" i="1" dirty="0" err="1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요구사항의</a:t>
            </a:r>
            <a:endParaRPr lang="en-US" altLang="ko-KR" sz="1300" b="1" i="1" dirty="0">
              <a:latin typeface="맑은 고딕" pitchFamily="50" charset="-127"/>
              <a:ea typeface="맑은 고딕" pitchFamily="50" charset="-127"/>
              <a:sym typeface="Wingdings" panose="05000000000000000000" pitchFamily="2" charset="2"/>
            </a:endParaRPr>
          </a:p>
          <a:p>
            <a:pPr latinLnBrk="0">
              <a:lnSpc>
                <a:spcPct val="130000"/>
              </a:lnSpc>
              <a:defRPr/>
            </a:pPr>
            <a:r>
              <a:rPr lang="en-US" altLang="ko-KR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  </a:t>
            </a:r>
            <a:r>
              <a:rPr lang="ko-KR" altLang="en-US" sz="1300" b="1" i="1" dirty="0">
                <a:latin typeface="맑은 고딕" pitchFamily="50" charset="-127"/>
                <a:ea typeface="맑은 고딕" pitchFamily="50" charset="-127"/>
                <a:sym typeface="Wingdings" panose="05000000000000000000" pitchFamily="2" charset="2"/>
              </a:rPr>
              <a:t> 준수 여부를 점검하고 이를 보완하기 위함 </a:t>
            </a:r>
            <a:endParaRPr lang="en-US" altLang="ko-KR" sz="1300" b="1" i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0816" y="3565602"/>
            <a:ext cx="4680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점검 대상 및 범위</a:t>
            </a:r>
          </a:p>
        </p:txBody>
      </p:sp>
      <p:cxnSp>
        <p:nvCxnSpPr>
          <p:cNvPr id="25" name="직선 연결선 24"/>
          <p:cNvCxnSpPr/>
          <p:nvPr/>
        </p:nvCxnSpPr>
        <p:spPr>
          <a:xfrm>
            <a:off x="78238" y="3904156"/>
            <a:ext cx="4752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직사각형 25"/>
          <p:cNvSpPr/>
          <p:nvPr/>
        </p:nvSpPr>
        <p:spPr>
          <a:xfrm>
            <a:off x="127618" y="4004508"/>
            <a:ext cx="4751529" cy="25202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50816" y="4028934"/>
            <a:ext cx="4730746" cy="5859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 latinLnBrk="0">
              <a:lnSpc>
                <a:spcPct val="13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4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점검 기준 </a:t>
            </a:r>
            <a:r>
              <a:rPr kumimoji="0" lang="en-US" altLang="ko-KR" sz="14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: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인정보보호 관리체계 점검 체크리스트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                 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보안 정책 등 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6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 영역 총 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54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 항목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5024438" y="1795355"/>
            <a:ext cx="4752975" cy="15976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024314" y="1356449"/>
            <a:ext cx="4745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맑은 고딕" pitchFamily="50" charset="-127"/>
                <a:ea typeface="맑은 고딕" pitchFamily="50" charset="-127"/>
              </a:rPr>
              <a:t>수행 인력</a:t>
            </a:r>
          </a:p>
        </p:txBody>
      </p:sp>
      <p:cxnSp>
        <p:nvCxnSpPr>
          <p:cNvPr id="30" name="직선 연결선 29"/>
          <p:cNvCxnSpPr/>
          <p:nvPr/>
        </p:nvCxnSpPr>
        <p:spPr>
          <a:xfrm>
            <a:off x="5024439" y="1695003"/>
            <a:ext cx="4752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/>
          <p:cNvSpPr/>
          <p:nvPr/>
        </p:nvSpPr>
        <p:spPr>
          <a:xfrm>
            <a:off x="5023470" y="1762710"/>
            <a:ext cx="4630096" cy="372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latinLnBrk="0">
              <a:lnSpc>
                <a:spcPct val="130000"/>
              </a:lnSpc>
              <a:buFont typeface="Wingdings" panose="05000000000000000000" pitchFamily="2" charset="2"/>
              <a:buChar char="§"/>
              <a:defRPr/>
            </a:pP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점검은 컨설턴트와 담당자 간 실사</a:t>
            </a:r>
            <a:r>
              <a:rPr lang="en-US" altLang="ko-KR" sz="1400" b="1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인터뷰 수행</a:t>
            </a:r>
            <a:endParaRPr kumimoji="0" lang="en-US" altLang="ko-KR" sz="14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007399"/>
              </p:ext>
            </p:extLst>
          </p:nvPr>
        </p:nvGraphicFramePr>
        <p:xfrm>
          <a:off x="5087976" y="2096247"/>
          <a:ext cx="4565589" cy="123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9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49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소속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</a:rPr>
                        <a:t>점검자</a:t>
                      </a: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영역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비고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이 병 건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의 보호조치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생명주기 점검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CMNP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정 승 훈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의 관리적 보호조치 영역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>
                          <a:solidFill>
                            <a:schemeClr val="tx1"/>
                          </a:solidFill>
                        </a:rPr>
                        <a:t>CMNP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정 회 귀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en-US" altLang="ko-KR" sz="10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llmaner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XE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운영 영역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CMNP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박 성 현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시스템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인프라 운영 영역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5024438" y="3565602"/>
            <a:ext cx="4745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정</a:t>
            </a:r>
          </a:p>
        </p:txBody>
      </p:sp>
      <p:cxnSp>
        <p:nvCxnSpPr>
          <p:cNvPr id="34" name="직선 연결선 33"/>
          <p:cNvCxnSpPr/>
          <p:nvPr/>
        </p:nvCxnSpPr>
        <p:spPr>
          <a:xfrm>
            <a:off x="5017162" y="3904156"/>
            <a:ext cx="4752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직사각형 34"/>
          <p:cNvSpPr/>
          <p:nvPr/>
        </p:nvSpPr>
        <p:spPr>
          <a:xfrm>
            <a:off x="5017162" y="4004508"/>
            <a:ext cx="4752850" cy="25202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rgbClr val="000000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819509"/>
              </p:ext>
            </p:extLst>
          </p:nvPr>
        </p:nvGraphicFramePr>
        <p:xfrm>
          <a:off x="220587" y="4624948"/>
          <a:ext cx="4537129" cy="182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60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0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7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0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구분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범위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항목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보안 정책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보호 관리체계 운영</a:t>
                      </a:r>
                      <a:r>
                        <a:rPr lang="ko-KR" altLang="en-US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관련 내부 정책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인적 보안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 </a:t>
                      </a:r>
                      <a:r>
                        <a:rPr lang="ko-KR" altLang="en-US" sz="10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처리자에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대한 인적 보안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물리 보안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무공간 내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물리적 보호조치 현황 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PC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보안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처리자 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대한 보호조치 현황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개인정보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Life-Cycle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 수집</a:t>
                      </a:r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이용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제공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en-US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등 생명주기 현황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92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개인정보처리시스템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95" rtl="0" eaLnBrk="1" latinLnBrk="1" hangingPunct="1"/>
                      <a:r>
                        <a:rPr lang="ko-KR" alt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개인정보처리시스템에 대한 보호조치 현황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95" rtl="0" eaLnBrk="1" latinLnBrk="1" hangingPunct="1"/>
                      <a:r>
                        <a:rPr lang="en-US" altLang="ko-KR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7" name="직사각형 36"/>
          <p:cNvSpPr/>
          <p:nvPr/>
        </p:nvSpPr>
        <p:spPr>
          <a:xfrm>
            <a:off x="5023470" y="4028934"/>
            <a:ext cx="4746542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 latinLnBrk="0">
              <a:lnSpc>
                <a:spcPct val="130000"/>
              </a:lnSpc>
              <a:buFont typeface="Wingdings" panose="05000000000000000000" pitchFamily="2" charset="2"/>
              <a:buChar char="§"/>
              <a:defRPr/>
            </a:pPr>
            <a:r>
              <a:rPr kumimoji="0" lang="ko-KR" altLang="en-US" sz="1400" b="1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일정</a:t>
            </a:r>
            <a:endParaRPr kumimoji="0" lang="en-US" altLang="ko-KR" sz="1400" b="1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- 10.14 ~ 10.17 :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점검 계획 수립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- 10.18 ~ 10.21 :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㈜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CMNP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실사</a:t>
            </a: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/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인터뷰 점검 시행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- 10.22 ~ 10.25 :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개인정보보호 관리체계 수준 평가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- 10.28 ~ 10.29 :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인정보보호 관리체계 점검 결과 보고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- 10.30 ~         : </a:t>
            </a:r>
            <a:r>
              <a:rPr kumimoji="0" lang="ko-KR" altLang="en-US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개선 계획에 대한 보호조치 수행 </a:t>
            </a:r>
            <a:endParaRPr kumimoji="0" lang="en-US" altLang="ko-KR" sz="12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  <a:p>
            <a:pPr lvl="0" latinLnBrk="0">
              <a:lnSpc>
                <a:spcPct val="130000"/>
              </a:lnSpc>
              <a:defRPr/>
            </a:pPr>
            <a:r>
              <a:rPr kumimoji="0" lang="en-US" altLang="ko-KR" sz="1200" kern="0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Arial"/>
              </a:rPr>
              <a:t>  </a:t>
            </a:r>
          </a:p>
          <a:p>
            <a:pPr lvl="0" latinLnBrk="0">
              <a:lnSpc>
                <a:spcPct val="130000"/>
              </a:lnSpc>
              <a:defRPr/>
            </a:pPr>
            <a:endParaRPr kumimoji="0" lang="en-US" altLang="ko-KR" sz="400" kern="0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19417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 비밀번호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72029" y="2477950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비밀번호 관리 절차를 수립 ∙ 이행하고 비밀번호 관리 책임이 사용자에게 있음을 주지시켜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특히 관리자 비밀번호는 별도 보호대책을 수립하여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50074" y="3220922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72028" y="3533315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용 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외에도 개인정보처리시스템에 대한 비밀번호 작성규칙이 수립되어 있지 않습니다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50074" y="407117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5" name="표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609448"/>
              </p:ext>
            </p:extLst>
          </p:nvPr>
        </p:nvGraphicFramePr>
        <p:xfrm>
          <a:off x="731712" y="4372689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.3 </a:t>
                      </a:r>
                      <a:r>
                        <a:rPr kumimoji="0" lang="ko-KR" altLang="en-US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안전한 비밀번호 설정</a:t>
                      </a:r>
                      <a:r>
                        <a:rPr kumimoji="0"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 개선 방향과 같이 개인정보처리시스템에 대한 비밀번호 작성규칙 수립</a:t>
                      </a:r>
                      <a:endParaRPr kumimoji="0" lang="ko-KR" alt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7628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무별 접근 권한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7454" y="2121528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근 권한의 변경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0074" y="247761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51999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832392"/>
            <a:ext cx="87529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처리시스템에 대한 계정은 </a:t>
            </a:r>
            <a:r>
              <a:rPr lang="en-US" altLang="ko-KR" sz="1000" dirty="0">
                <a:latin typeface="+mn-ea"/>
                <a:ea typeface="+mn-ea"/>
              </a:rPr>
              <a:t>1</a:t>
            </a:r>
            <a:r>
              <a:rPr lang="ko-KR" altLang="en-US" sz="1000" dirty="0">
                <a:latin typeface="+mn-ea"/>
                <a:ea typeface="+mn-ea"/>
              </a:rPr>
              <a:t>인 </a:t>
            </a:r>
            <a:r>
              <a:rPr lang="en-US" altLang="ko-KR" sz="1000" dirty="0">
                <a:latin typeface="+mn-ea"/>
                <a:ea typeface="+mn-ea"/>
              </a:rPr>
              <a:t>1</a:t>
            </a:r>
            <a:r>
              <a:rPr lang="ko-KR" altLang="en-US" sz="1000" dirty="0">
                <a:latin typeface="+mn-ea"/>
                <a:ea typeface="+mn-ea"/>
              </a:rPr>
              <a:t>계정을 사용하고 업무별 권한이 상이하게 부여되어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인터뷰 결과 업무 수행에 필요하지 않은 기능에 접근이 가능하도록 권한이 부여되어 있고 해당 권한은 소스코드에 하드코딩되어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별도의 인사시스템이 없고 연동되지 않아 부서 이동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업무 변경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퇴직 등 사용자 신상에 변화가 생길 시 접근 권한의 변경이 즉시 반영되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35315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249621"/>
              </p:ext>
            </p:extLst>
          </p:nvPr>
        </p:nvGraphicFramePr>
        <p:xfrm>
          <a:off x="731712" y="4654674"/>
          <a:ext cx="8633533" cy="899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계정별 접근 권한의 과다 부여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부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직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직원의 특성을 고려하여 개인정보 처리와 관련된 업무를 구분하고 해당 업무에 대한 접근 권한을 부여할 수 있도록 기준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접근 권한의 변경 부적절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접근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권한의 변경이 즉시 이루어질 수 있도록 내부 절차 마련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직사각형 25"/>
          <p:cNvSpPr/>
          <p:nvPr/>
        </p:nvSpPr>
        <p:spPr>
          <a:xfrm>
            <a:off x="672029" y="2785605"/>
            <a:ext cx="8752901" cy="7343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처리시스템에 접근하는 사용자 계정의 접근 권한은 업무에 필요한 최소한의 정보만 접근 가능하도록 부여하고 접근 권한에 대해 정기적</a:t>
            </a:r>
            <a:b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</a:b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검토를 이행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  <a:p>
            <a:pPr lvl="0" indent="127000" algn="just">
              <a:spcAft>
                <a:spcPts val="0"/>
              </a:spcAft>
            </a:pP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처리시스템에 접근 권한이 있는 사용자의 신상 변경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(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인사 이동 등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)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발생 시 접근 권한에 대한 검토와 재부여가 이루어져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581261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속 기록의 보관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7454" y="2121528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5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속 기록의 관리</a:t>
            </a:r>
            <a:r>
              <a:rPr lang="ko-KR" altLang="en-US" sz="1200" kern="100" dirty="0">
                <a:solidFill>
                  <a:srgbClr val="000000"/>
                </a:solidFill>
                <a:latin typeface="+mn-ea"/>
                <a:cs typeface="바탕"/>
              </a:rPr>
              <a:t> ∙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감독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0074" y="247761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70801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4020404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처리시스템에 대한 접속 기록 및 작업 내역 기록에 대한 기능이 존재하고 있으나 제대로 작동하지 않고 있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접속 기록의 관리 주체가 정해지지 않았으며 이에 대한 관리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 ∙ </a:t>
            </a:r>
            <a:r>
              <a:rPr lang="ko-KR" altLang="en-US" sz="1000" dirty="0">
                <a:latin typeface="+mn-ea"/>
                <a:ea typeface="+mn-ea"/>
              </a:rPr>
              <a:t>감독이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54117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49570"/>
              </p:ext>
            </p:extLst>
          </p:nvPr>
        </p:nvGraphicFramePr>
        <p:xfrm>
          <a:off x="731712" y="4842686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처리시스템 접근 기록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처리시스템의 접근 기록 기능 개선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접근 기록의 검토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회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개인정보처리시스템에 대한 정기 점검 수행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직사각형 25"/>
          <p:cNvSpPr/>
          <p:nvPr/>
        </p:nvSpPr>
        <p:spPr>
          <a:xfrm>
            <a:off x="672029" y="2785605"/>
            <a:ext cx="8752901" cy="8292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처리시스템에 접속한 기록을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1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년 이상 보관 ∙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다만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5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만 명 이상의 정보주체에 관하여 개인정보를 처리하거나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고유식별정보 또는 민감정보를 처리하는 개인정보처리시스템의 경우에는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2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년 이상 보관 ∙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  <a:p>
            <a:pPr lvl="0" indent="127000" algn="just">
              <a:spcAft>
                <a:spcPts val="0"/>
              </a:spcAft>
            </a:pP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의 오 ∙ 남용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분실 ∙ 도난 ∙ 유출 ∙ 위조 ∙ 변조 또는 훼손 등에 대응하기 위해 개인정보처리시스템의 접속기록 등을 월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1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회 이상 점검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588101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5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6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암호화 저장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7454" y="2121528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.7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암호화 전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0074" y="247761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64818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960582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en-US" altLang="ko-KR" sz="1000" dirty="0">
                <a:latin typeface="+mn-ea"/>
                <a:ea typeface="+mn-ea"/>
              </a:rPr>
              <a:t>DB</a:t>
            </a:r>
            <a:r>
              <a:rPr lang="ko-KR" altLang="en-US" sz="1000" dirty="0">
                <a:latin typeface="+mn-ea"/>
                <a:ea typeface="+mn-ea"/>
              </a:rPr>
              <a:t>서버에 저장되는 개인정보에 대한 암호화 저장이 이루어지고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처리시스템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관리자 페이지 등 개인정보를 정보통신망으로 전송하는 구간에 대한 암호화가 되어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0074" y="448134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1066089"/>
              </p:ext>
            </p:extLst>
          </p:nvPr>
        </p:nvGraphicFramePr>
        <p:xfrm>
          <a:off x="731712" y="4782864"/>
          <a:ext cx="8633533" cy="899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저장 시 암호화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DB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버 저장 시 주민등록번호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바이오 정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밀번호 등 법령에서 요구하는 강도로 암호화하여 저장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전송구간 암호화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비밀번호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등 인터넷을 통하여 송수신하는 구간에 대한 암호화 전송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직사각형 25"/>
          <p:cNvSpPr/>
          <p:nvPr/>
        </p:nvSpPr>
        <p:spPr>
          <a:xfrm>
            <a:off x="672029" y="2785605"/>
            <a:ext cx="8752901" cy="6481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 및 주요정보 보호를 위하여 법적 요구사항을 반영한 암호화 대상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암호 강도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암호 사용 정책을 수립하고 개인정보 및 주요정보의 저장 ∙ 전송 ∙ 전달 시 암호화를 적용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281481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별 첨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615950" y="1660948"/>
            <a:ext cx="8358039" cy="1356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R="0" lvl="0" algn="l" defTabSz="91440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buClrTx/>
              <a:buSzTx/>
              <a:tabLst/>
              <a:defRPr/>
            </a:pPr>
            <a:r>
              <a:rPr lang="en-US" altLang="ko-KR" sz="20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① </a:t>
            </a:r>
            <a:r>
              <a:rPr lang="ko-KR" altLang="en-US" sz="20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관리체계 점검 체크리스트</a:t>
            </a:r>
            <a:endParaRPr lang="en-US" altLang="ko-KR" sz="20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R="0" lvl="0" algn="l" defTabSz="91440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buClrTx/>
              <a:buSzTx/>
              <a:tabLst/>
              <a:defRPr/>
            </a:pPr>
            <a:endParaRPr kumimoji="0" lang="en-US" altLang="ko-KR" sz="2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lvl="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defRPr/>
            </a:pPr>
            <a:r>
              <a:rPr lang="en-US" altLang="ko-KR" sz="20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②</a:t>
            </a:r>
            <a:r>
              <a:rPr lang="en-US" altLang="ko-KR" sz="2000" b="1" kern="0" noProof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b="1" kern="0" noProof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흐름도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169596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1"/>
          <p:cNvSpPr txBox="1">
            <a:spLocks/>
          </p:cNvSpPr>
          <p:nvPr/>
        </p:nvSpPr>
        <p:spPr bwMode="auto">
          <a:xfrm>
            <a:off x="741332" y="3166120"/>
            <a:ext cx="8423337" cy="4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Helvetica75" pitchFamily="34" charset="0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ctr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End</a:t>
            </a:r>
            <a:r>
              <a:rPr kumimoji="0" lang="en-US" altLang="ko-KR" sz="5000" b="1" i="1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Of</a:t>
            </a:r>
            <a:r>
              <a:rPr kumimoji="0" lang="en-US" altLang="ko-KR" sz="5000" b="1" i="1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Document</a:t>
            </a:r>
            <a:endParaRPr kumimoji="0" lang="ko-KR" altLang="en-US" sz="5000" b="1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75" pitchFamily="34" charset="0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0004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현황 점검 평가 기준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08123"/>
              </p:ext>
            </p:extLst>
          </p:nvPr>
        </p:nvGraphicFramePr>
        <p:xfrm>
          <a:off x="495300" y="1702111"/>
          <a:ext cx="8915400" cy="4610497"/>
        </p:xfrm>
        <a:graphic>
          <a:graphicData uri="http://schemas.openxmlformats.org/drawingml/2006/table">
            <a:tbl>
              <a:tblPr/>
              <a:tblGrid>
                <a:gridCol w="4090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7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86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86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818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4230">
                <a:tc gridSpan="2">
                  <a:txBody>
                    <a:bodyPr/>
                    <a:lstStyle/>
                    <a:p>
                      <a:pPr algn="ctr" rtl="0" fontAlgn="base" latinLnBrk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1" lang="ko-KR" altLang="en-US" sz="16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현황분석 사항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2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4230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     ○ 개인정보보호 관리체계 점검 항목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423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인정보보호 관리체계에 대한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6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 분야 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57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 통제항목으로 구성되어 있습니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.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23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4230">
                <a:tc gridSpan="2">
                  <a:txBody>
                    <a:bodyPr/>
                    <a:lstStyle/>
                    <a:p>
                      <a:pPr algn="l" fontAlgn="ctr"/>
                      <a:r>
                        <a:rPr kumimoji="0" lang="en-US" altLang="ko-KR" sz="1600" b="1" i="0" u="none" strike="noStrike" kern="1200" baseline="0" dirty="0">
                          <a:solidFill>
                            <a:srgbClr val="333399"/>
                          </a:solidFill>
                          <a:effectLst/>
                          <a:latin typeface="맑은 고딕"/>
                          <a:ea typeface="+mn-ea"/>
                          <a:cs typeface="+mn-cs"/>
                        </a:rPr>
                        <a:t>  </a:t>
                      </a:r>
                      <a:r>
                        <a:rPr kumimoji="1" lang="ko-KR" altLang="en-US" sz="1600" b="1" kern="1200" dirty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작성방법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423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평가기준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현황 질문내용에 대해서 구현현황의 정도를 아래의 평가기준의 등급을 작성합니다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.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escription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등급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점수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내용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구현현황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Y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구현되어 있음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Y(es)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P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0.5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일부 구현되어 있음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P(artial)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0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구현되어 있지 않음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N(o)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/A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-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해당사항 없음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: </a:t>
                      </a: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N/A(Not Applicable)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045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준수율 도출</a:t>
                      </a:r>
                    </a:p>
                  </a:txBody>
                  <a:tcPr marL="6016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.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점검항목의 통제여부를 선택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Y, P, N, N/A)</a:t>
                      </a:r>
                    </a:p>
                  </a:txBody>
                  <a:tcPr marL="144379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045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.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점검항목을 점수화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1, 0.5, 0)</a:t>
                      </a:r>
                    </a:p>
                  </a:txBody>
                  <a:tcPr marL="144379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1779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rtl="0" fontAlgn="ctr"/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3.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준수율 선정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=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항목 점수 합 </a:t>
                      </a:r>
                      <a:r>
                        <a:rPr lang="en-US" altLang="ko-KR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/ </a:t>
                      </a:r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항목 수</a:t>
                      </a:r>
                    </a:p>
                  </a:txBody>
                  <a:tcPr marL="144379" marR="6016" marT="6016" marB="0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0456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　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※ 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점수는 향후 수준평가를 계량화하기 위한 등급별 점수입니다</a:t>
                      </a:r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.</a:t>
                      </a:r>
                    </a:p>
                  </a:txBody>
                  <a:tcPr marL="6016" marR="6016" marT="60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2612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현황 점검 요약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4143604"/>
              </p:ext>
            </p:extLst>
          </p:nvPr>
        </p:nvGraphicFramePr>
        <p:xfrm>
          <a:off x="715094" y="1944798"/>
          <a:ext cx="8621697" cy="1767888"/>
        </p:xfrm>
        <a:graphic>
          <a:graphicData uri="http://schemas.openxmlformats.org/drawingml/2006/table">
            <a:tbl>
              <a:tblPr/>
              <a:tblGrid>
                <a:gridCol w="553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776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836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es</a:t>
                      </a:r>
                      <a:endParaRPr lang="ko-KR" altLang="en-US" sz="1000" b="1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</a:t>
                      </a:r>
                      <a:endParaRPr lang="ko-KR" altLang="en-US" sz="1000" b="1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</a:t>
                      </a:r>
                      <a:endParaRPr lang="ko-KR" altLang="en-US" sz="1000" b="1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/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t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err="1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준수율</a:t>
                      </a:r>
                      <a:endParaRPr lang="ko-KR" altLang="en-US" sz="1000" b="1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 정책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적 보안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 보안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 </a:t>
                      </a:r>
                      <a:r>
                        <a:rPr lang="ko-KR" altLang="en-US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안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정보</a:t>
                      </a:r>
                      <a:r>
                        <a:rPr lang="ko-KR" altLang="en-US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ife-Cycle</a:t>
                      </a:r>
                      <a:endParaRPr lang="ko-KR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정보 처리시스템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0986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직사각형 8"/>
          <p:cNvSpPr/>
          <p:nvPr/>
        </p:nvSpPr>
        <p:spPr>
          <a:xfrm>
            <a:off x="4990641" y="3917950"/>
            <a:ext cx="4535658" cy="257031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5060449" y="3979399"/>
            <a:ext cx="4397531" cy="229293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취약 사항</a:t>
            </a:r>
            <a:endParaRPr kumimoji="0" lang="en-US" altLang="ko-KR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지침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부관리계획의 부재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취급자 목록의 현행화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취급자 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안전성 확보조치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수집에 필요한 필수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선택 정보 구분 필요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“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위탁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”, “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자 제공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”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분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 분리 보관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암호화 저장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마스킹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처리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처리시스템의 권한 설정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-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처리 기록의 저장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감독 미흡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339152"/>
            <a:ext cx="9334062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점검 결과 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</a:t>
            </a:r>
            <a:r>
              <a:rPr kumimoji="0" lang="ko-KR" altLang="en-US" sz="1300" b="1" dirty="0" err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준수율은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8%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 취약한 수준</a:t>
            </a:r>
            <a:r>
              <a:rPr kumimoji="0" lang="ko-KR" altLang="en-US" sz="1300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으로 분석되었으며</a:t>
            </a:r>
            <a:r>
              <a:rPr kumimoji="0" lang="en-US" altLang="ko-KR" sz="1300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정책의 수립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 가장 시급하고</a:t>
            </a:r>
            <a:r>
              <a:rPr kumimoji="0" lang="en-US" altLang="ko-KR" sz="1300" b="1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적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0" lang="en-US" altLang="ko-KR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PC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0" lang="en-US" altLang="ko-KR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Life-Cycle</a:t>
            </a:r>
            <a:r>
              <a:rPr kumimoji="0" lang="en-US" altLang="ko-KR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kumimoji="0" lang="en-US" altLang="ko-KR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3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처리시스템 영역 </a:t>
            </a: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부적합 사항에 대한 개선이 필요함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53" y="3935336"/>
            <a:ext cx="4167944" cy="2508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3965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5888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정책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799631"/>
            <a:ext cx="4324883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1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인정보보호 정책 수립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5875"/>
            <a:ext cx="8752901" cy="51503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조직이 수행하는 모든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</a:t>
            </a: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정보보호 활동의 근거를 포함할 수 있도록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</a:t>
            </a: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정보보호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 </a:t>
            </a: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정책을 수립하고 동 정책은 국가나 관련 산업에서 정하는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보호 </a:t>
            </a: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관련 법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규제를 만족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3695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0074" y="309767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72028" y="3410064"/>
            <a:ext cx="87529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보호 지침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내부관리계획 등 개인정보보호와 관련된 정책이 존재하지 않습니다</a:t>
            </a:r>
            <a:r>
              <a:rPr lang="en-US" altLang="ko-KR" sz="1000" dirty="0">
                <a:latin typeface="+mn-ea"/>
                <a:ea typeface="+mn-ea"/>
              </a:rPr>
              <a:t>. </a:t>
            </a:r>
          </a:p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보호를 위한 정책은 경영진의 승인과 임직원에게 공표가 필요합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0074" y="3901896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339125"/>
              </p:ext>
            </p:extLst>
          </p:nvPr>
        </p:nvGraphicFramePr>
        <p:xfrm>
          <a:off x="725295" y="4214289"/>
          <a:ext cx="8633533" cy="99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정책의 부재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규제를 만족하며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해관계자의 피드백을 반영한 개인정보보호 정책의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대표이사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 승인 내역 없음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영진의 참여가 이루어질 수 있도록 정책 수립 후 경영진 승인 획득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직원에게 공유되지 않음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내 게시판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하드카피 문서를 통해 정책의 내용 공유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92412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5888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정책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799631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>
                <a:latin typeface="맑은 고딕" panose="020B0503020000020004" pitchFamily="50" charset="-127"/>
                <a:ea typeface="맑은 고딕" panose="020B0503020000020004" pitchFamily="50" charset="-127"/>
              </a:rPr>
              <a:t>1.2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영진 책임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5875"/>
            <a:ext cx="8752901" cy="51503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임원급의 개인정보보호 책임자를 지정하고 개인정보보호 책임자는 개인정보보호정책 수립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보호 조직 구성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위험관리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보호위원회 운영 등의 개인정보보호에 관한 업무를 총괄 관리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3695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0074" y="3097671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72028" y="3410064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보호 책임자의 지정이 이루어지고 있지 않아 실효성 있는 개인정보보호 활동의 수행이 이루어지기 어렵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0074" y="3901896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854331"/>
              </p:ext>
            </p:extLst>
          </p:nvPr>
        </p:nvGraphicFramePr>
        <p:xfrm>
          <a:off x="725295" y="4214289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 rowSpan="2"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책임자의 지정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임원급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혹은 대표이사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책임자 지정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 vMerge="1">
                  <a:txBody>
                    <a:bodyPr/>
                    <a:lstStyle/>
                    <a:p>
                      <a:pPr algn="l" latinLnBrk="1"/>
                      <a:endParaRPr lang="ko-KR" altLang="en-US" sz="10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책임자의 역할과 책임에 대한 내부 문서 생성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58820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7963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정책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801706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3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조직 구성 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7950"/>
            <a:ext cx="8752901" cy="7621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보호 책임자의 역할을 지원하고 조직의 개인정보보호 활동을 체계적으로 이행하기 위해 실무조직을 구성하고 조직 구성원의 개인정보보호 전문성을 고려하여 구성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  <a:p>
            <a:pPr lvl="0" indent="127000" algn="just">
              <a:spcAft>
                <a:spcPts val="0"/>
              </a:spcAft>
            </a:pPr>
            <a:endParaRPr lang="en-US" altLang="ko-KR" sz="1000" kern="100" dirty="0">
              <a:solidFill>
                <a:srgbClr val="000000"/>
              </a:solidFill>
              <a:latin typeface="+mn-ea"/>
              <a:cs typeface="바탕"/>
            </a:endParaRPr>
          </a:p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개인정보보호 담당자에 대한 역할 및 책임을 정의하고 그 활동을 수행할 수 있는 체계를 마련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5770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0074" y="346327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72028" y="3775667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개인정보보호 업무를 수행하는 조직과 </a:t>
            </a:r>
            <a:r>
              <a:rPr lang="ko-KR" altLang="en-US" sz="1000">
                <a:latin typeface="+mn-ea"/>
                <a:ea typeface="+mn-ea"/>
              </a:rPr>
              <a:t>담당자가 지정되지 않아 개인정보보호 관리체계의 운영활동을 수행할 수 있는 환경이 마련되지 않았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0074" y="4267499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273123"/>
              </p:ext>
            </p:extLst>
          </p:nvPr>
        </p:nvGraphicFramePr>
        <p:xfrm>
          <a:off x="725295" y="4673528"/>
          <a:ext cx="8633533" cy="74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조직의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R&amp;R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의 미흡</a:t>
                      </a:r>
                    </a:p>
                  </a:txBody>
                  <a:tcPr marL="36000" marR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리체계의 유지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선을 위한 조직과 담당자 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R&amp;R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정의 및 조직 구성 이행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 담당자 지정 없음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개인정보보호에 대한 실무 업무를 수행하는 담당자 지정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7756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진단결과 상세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2802" y="1476131"/>
            <a:ext cx="9334062" cy="323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kumimoji="0" lang="ko-KR" altLang="en-US" sz="13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 정책 영역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454" y="1799874"/>
            <a:ext cx="4324883" cy="305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.4 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난</a:t>
            </a:r>
            <a:r>
              <a:rPr kumimoji="0"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재해 대응</a:t>
            </a:r>
            <a:endParaRPr kumimoji="0"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672029" y="2476118"/>
            <a:ext cx="8752901" cy="5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127000" algn="just">
              <a:spcAft>
                <a:spcPts val="0"/>
              </a:spcAft>
            </a:pP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자연재앙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해킹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통신장애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전력중단 등의 요인으로 인해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IT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시스템 중단 또는 파손 등 피해가 발생할 경우를 대비하여 비상 시 복구조직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비상연락체계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,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복구절차 등 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IT </a:t>
            </a:r>
            <a:r>
              <a:rPr lang="ko-KR" altLang="en-US" sz="1000" kern="100" dirty="0">
                <a:solidFill>
                  <a:srgbClr val="000000"/>
                </a:solidFill>
                <a:latin typeface="+mn-ea"/>
                <a:cs typeface="바탕"/>
              </a:rPr>
              <a:t>재해복구 체계를 구축하여야 한다</a:t>
            </a:r>
            <a:r>
              <a:rPr lang="en-US" altLang="ko-KR" sz="1000" kern="100" dirty="0">
                <a:solidFill>
                  <a:srgbClr val="000000"/>
                </a:solidFill>
                <a:latin typeface="+mn-ea"/>
                <a:cs typeface="바탕"/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0074" y="2133938"/>
            <a:ext cx="4324883" cy="288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1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이드라인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074" y="3097914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2</a:t>
            </a:r>
            <a:r>
              <a:rPr kumimoji="0"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황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672028" y="3410307"/>
            <a:ext cx="8752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000" dirty="0">
                <a:latin typeface="+mn-ea"/>
                <a:ea typeface="+mn-ea"/>
              </a:rPr>
              <a:t>현재 준용하고 있는 재난</a:t>
            </a:r>
            <a:r>
              <a:rPr lang="en-US" altLang="ko-KR" sz="1000" dirty="0">
                <a:latin typeface="+mn-ea"/>
                <a:ea typeface="+mn-ea"/>
              </a:rPr>
              <a:t>/</a:t>
            </a:r>
            <a:r>
              <a:rPr lang="ko-KR" altLang="en-US" sz="1000" dirty="0">
                <a:latin typeface="+mn-ea"/>
                <a:ea typeface="+mn-ea"/>
              </a:rPr>
              <a:t>재해 복구 대응 체계가 없으며</a:t>
            </a:r>
            <a:r>
              <a:rPr lang="en-US" altLang="ko-KR" sz="1000" dirty="0">
                <a:latin typeface="+mn-ea"/>
                <a:ea typeface="+mn-ea"/>
              </a:rPr>
              <a:t>, </a:t>
            </a:r>
            <a:r>
              <a:rPr lang="ko-KR" altLang="en-US" sz="1000" dirty="0">
                <a:latin typeface="+mn-ea"/>
                <a:ea typeface="+mn-ea"/>
              </a:rPr>
              <a:t>문서화 된 정책도 마련되어 있지 않습니다</a:t>
            </a:r>
            <a:r>
              <a:rPr lang="en-US" altLang="ko-KR" sz="1000" dirty="0">
                <a:latin typeface="+mn-ea"/>
                <a:ea typeface="+mn-ea"/>
              </a:rPr>
              <a:t>.</a:t>
            </a:r>
            <a:endParaRPr lang="ko-KR" altLang="en-US" sz="1000" dirty="0">
              <a:latin typeface="+mn-ea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7688" y="3791970"/>
            <a:ext cx="4324883" cy="312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3) 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취약점 및 개선방향</a:t>
            </a:r>
            <a:endParaRPr kumimoji="0" lang="en-US" altLang="ko-KR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0" name="표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402908"/>
              </p:ext>
            </p:extLst>
          </p:nvPr>
        </p:nvGraphicFramePr>
        <p:xfrm>
          <a:off x="731712" y="4093485"/>
          <a:ext cx="8633533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66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69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679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취약점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개선 방향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79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재난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재해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에 대한 대응과 복구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정책의 부재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재해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재난 별 대응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복구 방안을 고려한 정책의 수립</a:t>
                      </a:r>
                    </a:p>
                  </a:txBody>
                  <a:tcPr marL="36000" marR="3600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7320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Wuwo.HTU6sW_MAV1ON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heme/theme1.xml><?xml version="1.0" encoding="utf-8"?>
<a:theme xmlns:a="http://schemas.openxmlformats.org/drawingml/2006/main" name="기본 디자인">
  <a:themeElements>
    <a:clrScheme name="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균형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2</TotalTime>
  <Words>3633</Words>
  <Application>Microsoft Office PowerPoint</Application>
  <PresentationFormat>A4 용지(210x297mm)</PresentationFormat>
  <Paragraphs>644</Paragraphs>
  <Slides>35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35</vt:i4>
      </vt:variant>
    </vt:vector>
  </HeadingPairs>
  <TitlesOfParts>
    <vt:vector size="43" baseType="lpstr">
      <vt:lpstr>Helvetica75</vt:lpstr>
      <vt:lpstr>굴림</vt:lpstr>
      <vt:lpstr>맑은 고딕</vt:lpstr>
      <vt:lpstr>Arial</vt:lpstr>
      <vt:lpstr>Franklin Gothic Book</vt:lpstr>
      <vt:lpstr>Perpetua</vt:lpstr>
      <vt:lpstr>Wingdings</vt:lpstr>
      <vt:lpstr>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bglee</dc:creator>
  <cp:lastModifiedBy>정 승훈</cp:lastModifiedBy>
  <cp:revision>167</cp:revision>
  <cp:lastPrinted>2019-10-30T00:35:11Z</cp:lastPrinted>
  <dcterms:created xsi:type="dcterms:W3CDTF">2006-01-31T07:22:20Z</dcterms:created>
  <dcterms:modified xsi:type="dcterms:W3CDTF">2019-10-30T01:41:54Z</dcterms:modified>
</cp:coreProperties>
</file>